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7" r:id="rId2"/>
    <p:sldId id="452" r:id="rId3"/>
    <p:sldId id="258" r:id="rId4"/>
    <p:sldId id="270" r:id="rId5"/>
    <p:sldId id="764" r:id="rId6"/>
    <p:sldId id="2426" r:id="rId7"/>
    <p:sldId id="2420" r:id="rId8"/>
    <p:sldId id="453" r:id="rId9"/>
    <p:sldId id="2421" r:id="rId10"/>
    <p:sldId id="2422" r:id="rId11"/>
    <p:sldId id="2423" r:id="rId12"/>
    <p:sldId id="2424" r:id="rId13"/>
    <p:sldId id="2425" r:id="rId14"/>
    <p:sldId id="2427" r:id="rId1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14F5B"/>
    <a:srgbClr val="CC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2" d="100"/>
          <a:sy n="72" d="100"/>
        </p:scale>
        <p:origin x="45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761DD2-7E3F-46E5-B3B0-6368D542E75B}" type="datetimeFigureOut">
              <a:rPr lang="fr-FR" smtClean="0"/>
              <a:t>03/10/2020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49A664-A5B6-4EC7-AB45-95C0F8BCEE5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74678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6740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6010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496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F04AE6-6416-4907-B07A-07E891BB9F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12184F-6FC5-45C7-B0BA-4E39FE2C6B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279DA1-4BDA-436F-B8C1-A7A90F00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789812-982C-454B-B5C0-93CF0C932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26EF99-51EE-4D0F-A1E2-B5F2A3101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4243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0EF14-6F71-4A3D-8893-F8DCA2A69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8EF9367-B3B4-4E71-8C30-A367C4984D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28C2A6-0DF6-42CC-BF75-216C007031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E8272B-BE79-40F6-8C56-3812A571B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613F71-61A1-48B5-8E8F-20784D011E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16075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BC62144-910D-4D86-9C91-E98CBB367A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32334C-A00B-47EC-A22D-58156AB32E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E8408D-64ED-45C2-A7E3-3F038BFE4E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E9D746-5B10-4047-8835-02FF5DE04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0ED54F-1792-40F3-BBB2-5BB0355BF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4061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2176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10261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2276872"/>
            <a:ext cx="12192000" cy="2400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3" name="Isosceles Triangle 2"/>
          <p:cNvSpPr/>
          <p:nvPr userDrawn="1"/>
        </p:nvSpPr>
        <p:spPr>
          <a:xfrm rot="10800000">
            <a:off x="1583392" y="4677509"/>
            <a:ext cx="384043" cy="33107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12" name="Isosceles Triangle 11"/>
          <p:cNvSpPr/>
          <p:nvPr userDrawn="1"/>
        </p:nvSpPr>
        <p:spPr>
          <a:xfrm rot="10800000">
            <a:off x="4463712" y="4677509"/>
            <a:ext cx="384043" cy="33107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13" name="Isosceles Triangle 12"/>
          <p:cNvSpPr/>
          <p:nvPr userDrawn="1"/>
        </p:nvSpPr>
        <p:spPr>
          <a:xfrm rot="10800000">
            <a:off x="7344032" y="4677509"/>
            <a:ext cx="384043" cy="33107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14" name="Isosceles Triangle 13"/>
          <p:cNvSpPr/>
          <p:nvPr userDrawn="1"/>
        </p:nvSpPr>
        <p:spPr>
          <a:xfrm rot="10800000">
            <a:off x="10224348" y="4677509"/>
            <a:ext cx="384043" cy="33107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15" name="Rectangle 14"/>
          <p:cNvSpPr/>
          <p:nvPr userDrawn="1"/>
        </p:nvSpPr>
        <p:spPr>
          <a:xfrm>
            <a:off x="4037371" y="1"/>
            <a:ext cx="4128459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6" name="Rectangle 15"/>
          <p:cNvSpPr/>
          <p:nvPr userDrawn="1"/>
        </p:nvSpPr>
        <p:spPr>
          <a:xfrm>
            <a:off x="0" y="6753308"/>
            <a:ext cx="12192000" cy="1108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815413" y="2517005"/>
            <a:ext cx="1920000" cy="19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3695732" y="2517005"/>
            <a:ext cx="1920000" cy="19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6576051" y="2517005"/>
            <a:ext cx="1920000" cy="19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9456369" y="2517005"/>
            <a:ext cx="1920000" cy="19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489047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189869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60569-CDAA-4B99-B7A6-D865E162E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5B7F25-FCCA-4948-9323-6B8F24CC15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DAACF-F822-464E-B759-3BCFB9646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67C43C-0B6F-4DFE-9FF2-61FA38835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281F34-D6BF-4A37-B5DB-FE03DB9CF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3926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69162-41A4-48B1-BE49-0C18DB746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4776C3-D21B-49BB-9E33-93503EF284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6AE2B3-C307-4ED3-AD9C-E49350174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57CA88-09FA-474E-9A4D-B4D26D04D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E42B53-10EB-423C-ABA9-8895CDED5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1912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B0CF8-1B5F-4671-AD2A-D0719415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941B98-4FFC-401B-AB96-4AE8B01EE6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A2B4F4-D1C5-4AB7-A9AE-8FB35725EC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47B88B-B5B3-41A0-9EB1-421F03C95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28A9B17-4C50-461E-AC0D-495274409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3461BA-8673-4A77-A0B6-E5B6B514C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54342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C644CF-16A0-4446-836A-13E37C9174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3BF0A6-8B75-4576-80F7-B51FAD9A5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5AE83A-BAEF-4E57-AA1D-46444DB324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B868F5-3CC2-4186-BED5-76E15975936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B983C7-84C9-4F63-BC72-DC323868BF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3F9E41-352E-4377-BEF6-8EB90A9CC3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604BB31-8833-464B-AAB4-3C92661C7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82A5F21-566B-4B8B-96EC-AC53BC8D6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567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1588FD-64F6-4CCF-A702-304F8328F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416A80-E088-4BCF-A5A3-C8D074E72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9A4FA2-CA8D-4B82-A773-62A1BF148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876C76-5CBC-4A29-9EF3-2243BFFD26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10519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773039-11D7-4D62-9C34-8D5AD987A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538D0E-C8ED-4C23-BC58-64B48E19F7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2BEEFA-EE0F-4F4E-98FA-A34BC40DD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7875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353E2E-5CCC-4B0E-9754-F102963DA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40FB32-0691-4404-801C-FBD9848E14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93F50B-DC38-4B2A-9857-7F8B698A24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58941C-4225-4419-8AF5-F358C8FA6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7B79DD-E5DC-4BC9-8146-A5C4A2021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4AC989-EA9E-4DA7-9A12-745801F03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6094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48E8B-3497-4DE9-B4C6-5A5370C898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09A603-AB27-4FF2-ADD5-220034EAC6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23710B-124F-4C40-956F-75711CE6DB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BBCB29-CAF9-484C-B10A-CC2FC30F8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FFEB10-DF0E-468B-839F-52066015B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BF7D49-C000-4B40-B9A3-904E9FD15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34950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20B133-66E4-40FA-A867-775633B20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79D960-AAE4-434C-AF8A-91C60B91D6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796725-65DF-4B2C-B6C9-E666691913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C007FE-10ED-45B1-A7C8-6FAF47B38EC4}" type="datetimeFigureOut">
              <a:rPr lang="fr-FR" smtClean="0"/>
              <a:t>02/10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2E3262-EA96-4084-9E7F-7C2ADE437C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ECAFFC-EB7F-45EA-AF98-4A7E0A424E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BF551E-BBB2-48DD-B42B-80B166D70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6286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9.png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Awesome space background | Space background iphone, Space backgrounds, Space  gallery">
            <a:extLst>
              <a:ext uri="{FF2B5EF4-FFF2-40B4-BE49-F238E27FC236}">
                <a16:creationId xmlns:a16="http://schemas.microsoft.com/office/drawing/2014/main" id="{EF0A010A-0D8D-49CC-9479-E8AC0576A8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C2DED9B-2BED-4893-B5E0-8CDA2F00E7B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A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My Earth</a:t>
            </a:r>
            <a:endParaRPr lang="fr-FR" dirty="0">
              <a:solidFill>
                <a:schemeClr val="bg1"/>
              </a:solidFill>
              <a:latin typeface="Bahnschrift SemiBold Condensed" panose="020B0502040204020203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275CB0-D706-4CED-A3B6-9EBE245BD5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74066" y="3335820"/>
            <a:ext cx="9144000" cy="1655762"/>
          </a:xfrm>
        </p:spPr>
        <p:txBody>
          <a:bodyPr/>
          <a:lstStyle/>
          <a:p>
            <a:r>
              <a:rPr lang="en-CA" b="1" dirty="0">
                <a:solidFill>
                  <a:srgbClr val="B14F5B"/>
                </a:solidFill>
                <a:latin typeface="Agency FB" panose="020B0503020202020204" pitchFamily="34" charset="0"/>
              </a:rPr>
              <a:t>By R.N.B team</a:t>
            </a:r>
            <a:endParaRPr lang="fr-FR" b="1" dirty="0">
              <a:solidFill>
                <a:srgbClr val="B14F5B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1688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73627-33E8-4DB6-8B64-BA0FA95FB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1766D3-F72E-4FDD-BEEC-DBF7CAC21A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10" name="Picture 4" descr="Awesome space background | Space background iphone, Space backgrounds, Space  gallery">
            <a:extLst>
              <a:ext uri="{FF2B5EF4-FFF2-40B4-BE49-F238E27FC236}">
                <a16:creationId xmlns:a16="http://schemas.microsoft.com/office/drawing/2014/main" id="{C2C0C4AB-7308-4C63-83B1-5246F611F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F61767A6-08CE-4433-8D82-6BCAF929EF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093" y="2139484"/>
            <a:ext cx="2683214" cy="4096512"/>
          </a:xfrm>
          <a:prstGeom prst="rect">
            <a:avLst/>
          </a:prstGeom>
        </p:spPr>
      </p:pic>
      <p:pic>
        <p:nvPicPr>
          <p:cNvPr id="5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D5961AB9-F8B4-41A3-805C-7A11B96640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393" y="2139484"/>
            <a:ext cx="2683214" cy="4096512"/>
          </a:xfrm>
          <a:prstGeom prst="rect">
            <a:avLst/>
          </a:prstGeom>
        </p:spPr>
      </p:pic>
      <p:pic>
        <p:nvPicPr>
          <p:cNvPr id="6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D22BE046-F6FD-4CB6-914F-983DE9E32C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645" y="2139484"/>
            <a:ext cx="2683214" cy="4096512"/>
          </a:xfrm>
          <a:prstGeom prst="rect">
            <a:avLst/>
          </a:prstGeom>
        </p:spPr>
      </p:pic>
      <p:pic>
        <p:nvPicPr>
          <p:cNvPr id="7" name="Picture 6" descr="A picture containing object&#10;&#10;Description automatically generated">
            <a:extLst>
              <a:ext uri="{FF2B5EF4-FFF2-40B4-BE49-F238E27FC236}">
                <a16:creationId xmlns:a16="http://schemas.microsoft.com/office/drawing/2014/main" id="{DF71E3E6-85F5-4E4A-BCAB-F5DB0D6BC6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0641" y="2661920"/>
            <a:ext cx="1737359" cy="305816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E85237FD-03C9-4A57-A83C-EA80F5C984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399" y="2661920"/>
            <a:ext cx="1717041" cy="3058161"/>
          </a:xfrm>
          <a:prstGeom prst="rect">
            <a:avLst/>
          </a:prstGeom>
        </p:spPr>
      </p:pic>
      <p:pic>
        <p:nvPicPr>
          <p:cNvPr id="9" name="Picture 8" descr="A picture containing indoor, computer, desk, computer&#10;&#10;Description automatically generated">
            <a:extLst>
              <a:ext uri="{FF2B5EF4-FFF2-40B4-BE49-F238E27FC236}">
                <a16:creationId xmlns:a16="http://schemas.microsoft.com/office/drawing/2014/main" id="{8C95F64B-D9B7-4CB4-8706-2F48B367D8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1872" y="2661920"/>
            <a:ext cx="1699487" cy="3058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27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Awesome space background | Space background iphone, Space backgrounds, Space  gallery">
            <a:extLst>
              <a:ext uri="{FF2B5EF4-FFF2-40B4-BE49-F238E27FC236}">
                <a16:creationId xmlns:a16="http://schemas.microsoft.com/office/drawing/2014/main" id="{F71DEF1F-B9F7-4E0E-A2CD-5071F8E76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05C39C-B1E9-4C6D-81CC-D7D93A777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Content Placeholder 7" descr="Text&#10;&#10;Description automatically generated">
            <a:extLst>
              <a:ext uri="{FF2B5EF4-FFF2-40B4-BE49-F238E27FC236}">
                <a16:creationId xmlns:a16="http://schemas.microsoft.com/office/drawing/2014/main" id="{0D157E94-F5C3-4F80-9A6F-AD60842F47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1036" y="2697160"/>
            <a:ext cx="1706880" cy="3007361"/>
          </a:xfrm>
        </p:spPr>
      </p:pic>
      <p:pic>
        <p:nvPicPr>
          <p:cNvPr id="4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F72FF71D-5D19-4A44-BE45-B7B06B3BA7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093" y="2139484"/>
            <a:ext cx="2683214" cy="4096512"/>
          </a:xfrm>
          <a:prstGeom prst="rect">
            <a:avLst/>
          </a:prstGeom>
        </p:spPr>
      </p:pic>
      <p:pic>
        <p:nvPicPr>
          <p:cNvPr id="5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F4C25C62-B97B-49CD-AA5A-62A8C37CB1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869" y="2139484"/>
            <a:ext cx="2683214" cy="4096512"/>
          </a:xfrm>
          <a:prstGeom prst="rect">
            <a:avLst/>
          </a:prstGeom>
        </p:spPr>
      </p:pic>
      <p:pic>
        <p:nvPicPr>
          <p:cNvPr id="6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14994D17-3F67-4376-8C35-8EE4BE431B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645" y="2139484"/>
            <a:ext cx="2683214" cy="4096512"/>
          </a:xfrm>
          <a:prstGeom prst="rect">
            <a:avLst/>
          </a:prstGeom>
        </p:spPr>
      </p:pic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D28B062-7F12-45EF-B714-7E5360F003D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9978" y="2702558"/>
            <a:ext cx="1660902" cy="3007361"/>
          </a:xfrm>
          <a:prstGeom prst="rect">
            <a:avLst/>
          </a:prstGeom>
        </p:spPr>
      </p:pic>
      <p:pic>
        <p:nvPicPr>
          <p:cNvPr id="12" name="Picture 11" descr="A picture containing purple&#10;&#10;Description automatically generated">
            <a:extLst>
              <a:ext uri="{FF2B5EF4-FFF2-40B4-BE49-F238E27FC236}">
                <a16:creationId xmlns:a16="http://schemas.microsoft.com/office/drawing/2014/main" id="{421B1C5B-2F50-4D4B-B0C1-1C9B679339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047" y="2702558"/>
            <a:ext cx="1707793" cy="2996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13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Awesome space background | Space background iphone, Space backgrounds, Space  gallery">
            <a:extLst>
              <a:ext uri="{FF2B5EF4-FFF2-40B4-BE49-F238E27FC236}">
                <a16:creationId xmlns:a16="http://schemas.microsoft.com/office/drawing/2014/main" id="{3CD4FC71-899E-410C-9E39-B92E30741C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E41EFD-2F99-4E05-9E1B-A2C37D00F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Content Placeholder 7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0F500742-D091-4953-A13A-F2EB8F5073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4467" y="2678979"/>
            <a:ext cx="1811665" cy="3017521"/>
          </a:xfrm>
        </p:spPr>
      </p:pic>
      <p:pic>
        <p:nvPicPr>
          <p:cNvPr id="4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CEB335DE-7475-4635-A0AB-0479D4CA4C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093" y="2139484"/>
            <a:ext cx="2683214" cy="4096512"/>
          </a:xfrm>
          <a:prstGeom prst="rect">
            <a:avLst/>
          </a:prstGeom>
        </p:spPr>
      </p:pic>
      <p:pic>
        <p:nvPicPr>
          <p:cNvPr id="5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C42F4209-873D-413F-92DD-FCBD5A6003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393" y="2139484"/>
            <a:ext cx="2683214" cy="4096512"/>
          </a:xfrm>
          <a:prstGeom prst="rect">
            <a:avLst/>
          </a:prstGeom>
        </p:spPr>
      </p:pic>
      <p:pic>
        <p:nvPicPr>
          <p:cNvPr id="6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E9460FDF-C2D9-49EA-A9BB-FD45B05C89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8693" y="2139484"/>
            <a:ext cx="2683214" cy="4096512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E10AB2CF-19AC-4A92-AC73-2D22133C7D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3809" y="2682239"/>
            <a:ext cx="1695782" cy="3017521"/>
          </a:xfrm>
          <a:prstGeom prst="rect">
            <a:avLst/>
          </a:prstGeom>
        </p:spPr>
      </p:pic>
      <p:pic>
        <p:nvPicPr>
          <p:cNvPr id="14" name="Picture 13" descr="A close up of text on a black surface&#10;&#10;Description automatically generated">
            <a:extLst>
              <a:ext uri="{FF2B5EF4-FFF2-40B4-BE49-F238E27FC236}">
                <a16:creationId xmlns:a16="http://schemas.microsoft.com/office/drawing/2014/main" id="{CC0AB0B9-BD7D-428E-AAAB-B5AE49D092E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612" y="2682239"/>
            <a:ext cx="1673668" cy="3017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000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Awesome space background | Space background iphone, Space backgrounds, Space  gallery">
            <a:extLst>
              <a:ext uri="{FF2B5EF4-FFF2-40B4-BE49-F238E27FC236}">
                <a16:creationId xmlns:a16="http://schemas.microsoft.com/office/drawing/2014/main" id="{AFF73C20-D5A9-45F2-9E56-2CA8634648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502B07-214C-4184-8A15-69F5C1C13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2" name="Content Placeholder 11" descr="Timeline&#10;&#10;Description automatically generated">
            <a:extLst>
              <a:ext uri="{FF2B5EF4-FFF2-40B4-BE49-F238E27FC236}">
                <a16:creationId xmlns:a16="http://schemas.microsoft.com/office/drawing/2014/main" id="{25C58A42-1A55-466B-9ABB-1C37DE80B3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2188" y="2698560"/>
            <a:ext cx="1676400" cy="2997694"/>
          </a:xfrm>
        </p:spPr>
      </p:pic>
      <p:pic>
        <p:nvPicPr>
          <p:cNvPr id="4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BE167D3B-7BE6-4350-9C57-0A8BBC4692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093" y="2139484"/>
            <a:ext cx="2683214" cy="4096512"/>
          </a:xfrm>
          <a:prstGeom prst="rect">
            <a:avLst/>
          </a:prstGeom>
        </p:spPr>
      </p:pic>
      <p:pic>
        <p:nvPicPr>
          <p:cNvPr id="5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EBE49FBC-2AF0-47C4-8471-CC2845A1C2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393" y="2139484"/>
            <a:ext cx="2683214" cy="4096512"/>
          </a:xfrm>
          <a:prstGeom prst="rect">
            <a:avLst/>
          </a:prstGeom>
        </p:spPr>
      </p:pic>
      <p:pic>
        <p:nvPicPr>
          <p:cNvPr id="6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9AA8F585-0421-42C1-8547-F9ADBF4097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781" y="2139484"/>
            <a:ext cx="2683214" cy="4096512"/>
          </a:xfrm>
          <a:prstGeom prst="rect">
            <a:avLst/>
          </a:prstGeom>
        </p:spPr>
      </p:pic>
      <p:pic>
        <p:nvPicPr>
          <p:cNvPr id="10" name="Picture 9" descr="A picture containing outdoor, sitting, monitor, person&#10;&#10;Description automatically generated">
            <a:extLst>
              <a:ext uri="{FF2B5EF4-FFF2-40B4-BE49-F238E27FC236}">
                <a16:creationId xmlns:a16="http://schemas.microsoft.com/office/drawing/2014/main" id="{F24101FA-C76B-4BE9-9F8E-4C0A908D02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3109" y="2688893"/>
            <a:ext cx="1745782" cy="2997694"/>
          </a:xfrm>
          <a:prstGeom prst="rect">
            <a:avLst/>
          </a:prstGeom>
        </p:spPr>
      </p:pic>
      <p:pic>
        <p:nvPicPr>
          <p:cNvPr id="13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7DEC41CE-89C0-4F35-A393-E3D74518B2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249" y="2688893"/>
            <a:ext cx="1660902" cy="3007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452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wesome space background | Space background iphone, Space backgrounds, Space  gallery">
            <a:extLst>
              <a:ext uri="{FF2B5EF4-FFF2-40B4-BE49-F238E27FC236}">
                <a16:creationId xmlns:a16="http://schemas.microsoft.com/office/drawing/2014/main" id="{2AF4D787-1A1B-4F8B-8D82-FBBD548676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319EC74-6D43-4693-AE55-815562C47B64}"/>
              </a:ext>
            </a:extLst>
          </p:cNvPr>
          <p:cNvSpPr/>
          <p:nvPr/>
        </p:nvSpPr>
        <p:spPr>
          <a:xfrm>
            <a:off x="0" y="365125"/>
            <a:ext cx="12192000" cy="14605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F9FEA7-3A3F-4CC6-BEAE-83C27D924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CA" sz="54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FUTURE UPDATES:</a:t>
            </a:r>
            <a:endParaRPr lang="fr-FR" sz="5400" b="1" dirty="0">
              <a:solidFill>
                <a:schemeClr val="bg1"/>
              </a:solidFill>
              <a:latin typeface="Bahnschrift SemiBold Condensed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5C1A0A-E89A-4425-B886-593A814B41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6287" y="2047567"/>
            <a:ext cx="10515600" cy="4351338"/>
          </a:xfrm>
        </p:spPr>
        <p:txBody>
          <a:bodyPr/>
          <a:lstStyle/>
          <a:p>
            <a:r>
              <a:rPr lang="en-CA" dirty="0">
                <a:solidFill>
                  <a:schemeClr val="bg1"/>
                </a:solidFill>
                <a:latin typeface="Bahnschrift Condensed" panose="020B0502040204020203" pitchFamily="34" charset="0"/>
              </a:rPr>
              <a:t>A VR implementation so that the user can discover </a:t>
            </a:r>
            <a:r>
              <a:rPr lang="en-CA" dirty="0">
                <a:latin typeface="Bahnschrift Condensed" panose="020B0502040204020203" pitchFamily="34" charset="0"/>
              </a:rPr>
              <a:t>the inside </a:t>
            </a:r>
            <a:r>
              <a:rPr lang="en-CA" dirty="0">
                <a:solidFill>
                  <a:schemeClr val="bg1"/>
                </a:solidFill>
                <a:latin typeface="Bahnschrift Condensed" panose="020B0502040204020203" pitchFamily="34" charset="0"/>
              </a:rPr>
              <a:t>of the ISS.</a:t>
            </a:r>
          </a:p>
          <a:p>
            <a:r>
              <a:rPr lang="en-CA" dirty="0">
                <a:solidFill>
                  <a:schemeClr val="bg1"/>
                </a:solidFill>
                <a:latin typeface="Bahnschrift Condensed" panose="020B0502040204020203" pitchFamily="34" charset="0"/>
              </a:rPr>
              <a:t>A game where the user can create their own phenomena</a:t>
            </a:r>
          </a:p>
          <a:p>
            <a:r>
              <a:rPr lang="en-CA" dirty="0">
                <a:latin typeface="Bahnschrift Condensed" panose="020B0502040204020203" pitchFamily="34" charset="0"/>
              </a:rPr>
              <a:t>Short animated videos </a:t>
            </a:r>
            <a:r>
              <a:rPr lang="en-CA" dirty="0">
                <a:solidFill>
                  <a:schemeClr val="bg1"/>
                </a:solidFill>
                <a:latin typeface="Bahnschrift Condensed" panose="020B0502040204020203" pitchFamily="34" charset="0"/>
              </a:rPr>
              <a:t>where the user explores NASA’s history in details</a:t>
            </a:r>
          </a:p>
          <a:p>
            <a:r>
              <a:rPr lang="en-CA" dirty="0">
                <a:latin typeface="Bahnschrift Condensed" panose="020B0502040204020203" pitchFamily="34" charset="0"/>
              </a:rPr>
              <a:t>The</a:t>
            </a:r>
            <a:r>
              <a:rPr lang="en-CA" dirty="0">
                <a:solidFill>
                  <a:schemeClr val="bg1"/>
                </a:solidFill>
                <a:latin typeface="Bahnschrift Condensed" panose="020B0502040204020203" pitchFamily="34" charset="0"/>
              </a:rPr>
              <a:t> adventure mode will also give the user the ability to create a virtual volcano and to virtually experience different earthquake magnitudes</a:t>
            </a:r>
            <a:endParaRPr lang="fr-FR" dirty="0">
              <a:solidFill>
                <a:schemeClr val="bg1"/>
              </a:solidFill>
              <a:latin typeface="Bahnschrift Condense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0064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25C32CA5-9848-4A80-BC03-DE06E03D6700}"/>
              </a:ext>
            </a:extLst>
          </p:cNvPr>
          <p:cNvSpPr/>
          <p:nvPr/>
        </p:nvSpPr>
        <p:spPr>
          <a:xfrm>
            <a:off x="0" y="365125"/>
            <a:ext cx="12192000" cy="14605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OUR APP: My Earth</a:t>
            </a:r>
          </a:p>
        </p:txBody>
      </p:sp>
      <p:sp>
        <p:nvSpPr>
          <p:cNvPr id="4" name="Diagonal Stripe 3"/>
          <p:cNvSpPr/>
          <p:nvPr/>
        </p:nvSpPr>
        <p:spPr>
          <a:xfrm rot="16200000">
            <a:off x="3061854" y="3121431"/>
            <a:ext cx="1482436" cy="1898072"/>
          </a:xfrm>
          <a:prstGeom prst="diagStripe">
            <a:avLst>
              <a:gd name="adj" fmla="val 70438"/>
            </a:avLst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Diagonal Stripe 4"/>
          <p:cNvSpPr/>
          <p:nvPr/>
        </p:nvSpPr>
        <p:spPr>
          <a:xfrm rot="5400000" flipH="1">
            <a:off x="1163782" y="3121431"/>
            <a:ext cx="1482436" cy="1898072"/>
          </a:xfrm>
          <a:prstGeom prst="diagStripe">
            <a:avLst>
              <a:gd name="adj" fmla="val 70438"/>
            </a:avLst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Diagonal Stripe 5"/>
          <p:cNvSpPr/>
          <p:nvPr/>
        </p:nvSpPr>
        <p:spPr>
          <a:xfrm rot="16200000">
            <a:off x="6289963" y="3121432"/>
            <a:ext cx="1482436" cy="1898072"/>
          </a:xfrm>
          <a:prstGeom prst="diagStripe">
            <a:avLst>
              <a:gd name="adj" fmla="val 70438"/>
            </a:avLst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Diagonal Stripe 6"/>
          <p:cNvSpPr/>
          <p:nvPr/>
        </p:nvSpPr>
        <p:spPr>
          <a:xfrm rot="5400000" flipH="1">
            <a:off x="4391891" y="3121431"/>
            <a:ext cx="1482436" cy="1898072"/>
          </a:xfrm>
          <a:prstGeom prst="diagStripe">
            <a:avLst>
              <a:gd name="adj" fmla="val 70438"/>
            </a:avLst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Diagonal Stripe 7"/>
          <p:cNvSpPr/>
          <p:nvPr/>
        </p:nvSpPr>
        <p:spPr>
          <a:xfrm rot="16200000">
            <a:off x="9518072" y="3121432"/>
            <a:ext cx="1482436" cy="1898072"/>
          </a:xfrm>
          <a:prstGeom prst="diagStripe">
            <a:avLst>
              <a:gd name="adj" fmla="val 70438"/>
            </a:avLst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Diagonal Stripe 8"/>
          <p:cNvSpPr/>
          <p:nvPr/>
        </p:nvSpPr>
        <p:spPr>
          <a:xfrm rot="5400000" flipH="1">
            <a:off x="7620000" y="3121431"/>
            <a:ext cx="1482436" cy="1898072"/>
          </a:xfrm>
          <a:prstGeom prst="diagStripe">
            <a:avLst>
              <a:gd name="adj" fmla="val 70438"/>
            </a:avLst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1287464" y="5331102"/>
            <a:ext cx="3133145" cy="7460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4529427" y="5331102"/>
            <a:ext cx="3133145" cy="7460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7771390" y="5331102"/>
            <a:ext cx="3133145" cy="7460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. 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955964" y="4428868"/>
            <a:ext cx="3796144" cy="3828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solidFill>
                  <a:srgbClr val="464646"/>
                </a:solidFill>
                <a:latin typeface="Calibri" panose="020F0502020204030204" pitchFamily="34" charset="0"/>
                <a:cs typeface="Arial" pitchFamily="34" charset="0"/>
              </a:rPr>
              <a:t>Fun 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4197927" y="4428868"/>
            <a:ext cx="3796144" cy="3828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Educational 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7439890" y="4428868"/>
            <a:ext cx="3796144" cy="3828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DA1F2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Explorative </a:t>
            </a:r>
          </a:p>
        </p:txBody>
      </p:sp>
      <p:grpSp>
        <p:nvGrpSpPr>
          <p:cNvPr id="19" name="Earth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69B134B-42C1-425E-8223-08769543CB63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9036173" y="2571982"/>
            <a:ext cx="542925" cy="542925"/>
            <a:chOff x="31" y="32"/>
            <a:chExt cx="423" cy="423"/>
          </a:xfrm>
          <a:solidFill>
            <a:schemeClr val="accent1"/>
          </a:solidFill>
        </p:grpSpPr>
        <p:sp>
          <p:nvSpPr>
            <p:cNvPr id="20" name="Earth2">
              <a:extLst>
                <a:ext uri="{FF2B5EF4-FFF2-40B4-BE49-F238E27FC236}">
                  <a16:creationId xmlns:a16="http://schemas.microsoft.com/office/drawing/2014/main" id="{CA8CF171-36EE-4F43-95E5-FE893A7B9D87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55" y="163"/>
              <a:ext cx="33" cy="20"/>
            </a:xfrm>
            <a:custGeom>
              <a:avLst/>
              <a:gdLst>
                <a:gd name="T0" fmla="*/ 9 w 88"/>
                <a:gd name="T1" fmla="*/ 53 h 55"/>
                <a:gd name="T2" fmla="*/ 48 w 88"/>
                <a:gd name="T3" fmla="*/ 47 h 55"/>
                <a:gd name="T4" fmla="*/ 77 w 88"/>
                <a:gd name="T5" fmla="*/ 55 h 55"/>
                <a:gd name="T6" fmla="*/ 88 w 88"/>
                <a:gd name="T7" fmla="*/ 35 h 55"/>
                <a:gd name="T8" fmla="*/ 20 w 88"/>
                <a:gd name="T9" fmla="*/ 0 h 55"/>
                <a:gd name="T10" fmla="*/ 0 w 88"/>
                <a:gd name="T11" fmla="*/ 37 h 55"/>
                <a:gd name="T12" fmla="*/ 9 w 88"/>
                <a:gd name="T1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55">
                  <a:moveTo>
                    <a:pt x="9" y="53"/>
                  </a:moveTo>
                  <a:lnTo>
                    <a:pt x="48" y="47"/>
                  </a:lnTo>
                  <a:lnTo>
                    <a:pt x="77" y="55"/>
                  </a:lnTo>
                  <a:lnTo>
                    <a:pt x="88" y="35"/>
                  </a:lnTo>
                  <a:lnTo>
                    <a:pt x="20" y="0"/>
                  </a:lnTo>
                  <a:lnTo>
                    <a:pt x="0" y="37"/>
                  </a:lnTo>
                  <a:lnTo>
                    <a:pt x="9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Earth2">
              <a:extLst>
                <a:ext uri="{FF2B5EF4-FFF2-40B4-BE49-F238E27FC236}">
                  <a16:creationId xmlns:a16="http://schemas.microsoft.com/office/drawing/2014/main" id="{1FB0FC59-772B-4DD2-A042-CE257220C123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31" y="32"/>
              <a:ext cx="423" cy="423"/>
            </a:xfrm>
            <a:custGeom>
              <a:avLst/>
              <a:gdLst>
                <a:gd name="T0" fmla="*/ 761 w 1126"/>
                <a:gd name="T1" fmla="*/ 35 h 1125"/>
                <a:gd name="T2" fmla="*/ 719 w 1126"/>
                <a:gd name="T3" fmla="*/ 21 h 1125"/>
                <a:gd name="T4" fmla="*/ 656 w 1126"/>
                <a:gd name="T5" fmla="*/ 7 h 1125"/>
                <a:gd name="T6" fmla="*/ 608 w 1126"/>
                <a:gd name="T7" fmla="*/ 1 h 1125"/>
                <a:gd name="T8" fmla="*/ 544 w 1126"/>
                <a:gd name="T9" fmla="*/ 0 h 1125"/>
                <a:gd name="T10" fmla="*/ 506 w 1126"/>
                <a:gd name="T11" fmla="*/ 2 h 1125"/>
                <a:gd name="T12" fmla="*/ 469 w 1126"/>
                <a:gd name="T13" fmla="*/ 7 h 1125"/>
                <a:gd name="T14" fmla="*/ 437 w 1126"/>
                <a:gd name="T15" fmla="*/ 14 h 1125"/>
                <a:gd name="T16" fmla="*/ 400 w 1126"/>
                <a:gd name="T17" fmla="*/ 24 h 1125"/>
                <a:gd name="T18" fmla="*/ 371 w 1126"/>
                <a:gd name="T19" fmla="*/ 33 h 1125"/>
                <a:gd name="T20" fmla="*/ 334 w 1126"/>
                <a:gd name="T21" fmla="*/ 48 h 1125"/>
                <a:gd name="T22" fmla="*/ 308 w 1126"/>
                <a:gd name="T23" fmla="*/ 60 h 1125"/>
                <a:gd name="T24" fmla="*/ 273 w 1126"/>
                <a:gd name="T25" fmla="*/ 80 h 1125"/>
                <a:gd name="T26" fmla="*/ 250 w 1126"/>
                <a:gd name="T27" fmla="*/ 94 h 1125"/>
                <a:gd name="T28" fmla="*/ 218 w 1126"/>
                <a:gd name="T29" fmla="*/ 118 h 1125"/>
                <a:gd name="T30" fmla="*/ 197 w 1126"/>
                <a:gd name="T31" fmla="*/ 135 h 1125"/>
                <a:gd name="T32" fmla="*/ 167 w 1126"/>
                <a:gd name="T33" fmla="*/ 162 h 1125"/>
                <a:gd name="T34" fmla="*/ 48 w 1126"/>
                <a:gd name="T35" fmla="*/ 335 h 1125"/>
                <a:gd name="T36" fmla="*/ 35 w 1126"/>
                <a:gd name="T37" fmla="*/ 367 h 1125"/>
                <a:gd name="T38" fmla="*/ 17 w 1126"/>
                <a:gd name="T39" fmla="*/ 426 h 1125"/>
                <a:gd name="T40" fmla="*/ 9 w 1126"/>
                <a:gd name="T41" fmla="*/ 462 h 1125"/>
                <a:gd name="T42" fmla="*/ 3 w 1126"/>
                <a:gd name="T43" fmla="*/ 508 h 1125"/>
                <a:gd name="T44" fmla="*/ 1 w 1126"/>
                <a:gd name="T45" fmla="*/ 546 h 1125"/>
                <a:gd name="T46" fmla="*/ 1013 w 1126"/>
                <a:gd name="T47" fmla="*/ 344 h 1125"/>
                <a:gd name="T48" fmla="*/ 1015 w 1126"/>
                <a:gd name="T49" fmla="*/ 387 h 1125"/>
                <a:gd name="T50" fmla="*/ 1020 w 1126"/>
                <a:gd name="T51" fmla="*/ 494 h 1125"/>
                <a:gd name="T52" fmla="*/ 1062 w 1126"/>
                <a:gd name="T53" fmla="*/ 532 h 1125"/>
                <a:gd name="T54" fmla="*/ 953 w 1126"/>
                <a:gd name="T55" fmla="*/ 613 h 1125"/>
                <a:gd name="T56" fmla="*/ 916 w 1126"/>
                <a:gd name="T57" fmla="*/ 784 h 1125"/>
                <a:gd name="T58" fmla="*/ 745 w 1126"/>
                <a:gd name="T59" fmla="*/ 639 h 1125"/>
                <a:gd name="T60" fmla="*/ 758 w 1126"/>
                <a:gd name="T61" fmla="*/ 423 h 1125"/>
                <a:gd name="T62" fmla="*/ 903 w 1126"/>
                <a:gd name="T63" fmla="*/ 462 h 1125"/>
                <a:gd name="T64" fmla="*/ 832 w 1126"/>
                <a:gd name="T65" fmla="*/ 431 h 1125"/>
                <a:gd name="T66" fmla="*/ 773 w 1126"/>
                <a:gd name="T67" fmla="*/ 378 h 1125"/>
                <a:gd name="T68" fmla="*/ 709 w 1126"/>
                <a:gd name="T69" fmla="*/ 388 h 1125"/>
                <a:gd name="T70" fmla="*/ 674 w 1126"/>
                <a:gd name="T71" fmla="*/ 349 h 1125"/>
                <a:gd name="T72" fmla="*/ 741 w 1126"/>
                <a:gd name="T73" fmla="*/ 266 h 1125"/>
                <a:gd name="T74" fmla="*/ 846 w 1126"/>
                <a:gd name="T75" fmla="*/ 248 h 1125"/>
                <a:gd name="T76" fmla="*/ 824 w 1126"/>
                <a:gd name="T77" fmla="*/ 186 h 1125"/>
                <a:gd name="T78" fmla="*/ 838 w 1126"/>
                <a:gd name="T79" fmla="*/ 145 h 1125"/>
                <a:gd name="T80" fmla="*/ 999 w 1126"/>
                <a:gd name="T81" fmla="*/ 765 h 1125"/>
                <a:gd name="T82" fmla="*/ 524 w 1126"/>
                <a:gd name="T83" fmla="*/ 177 h 1125"/>
                <a:gd name="T84" fmla="*/ 393 w 1126"/>
                <a:gd name="T85" fmla="*/ 92 h 1125"/>
                <a:gd name="T86" fmla="*/ 812 w 1126"/>
                <a:gd name="T87" fmla="*/ 161 h 1125"/>
                <a:gd name="T88" fmla="*/ 761 w 1126"/>
                <a:gd name="T89" fmla="*/ 219 h 1125"/>
                <a:gd name="T90" fmla="*/ 765 w 1126"/>
                <a:gd name="T91" fmla="*/ 120 h 1125"/>
                <a:gd name="T92" fmla="*/ 631 w 1126"/>
                <a:gd name="T93" fmla="*/ 220 h 1125"/>
                <a:gd name="T94" fmla="*/ 696 w 1126"/>
                <a:gd name="T95" fmla="*/ 246 h 1125"/>
                <a:gd name="T96" fmla="*/ 316 w 1126"/>
                <a:gd name="T97" fmla="*/ 146 h 1125"/>
                <a:gd name="T98" fmla="*/ 316 w 1126"/>
                <a:gd name="T99" fmla="*/ 331 h 1125"/>
                <a:gd name="T100" fmla="*/ 446 w 1126"/>
                <a:gd name="T101" fmla="*/ 382 h 1125"/>
                <a:gd name="T102" fmla="*/ 281 w 1126"/>
                <a:gd name="T103" fmla="*/ 519 h 1125"/>
                <a:gd name="T104" fmla="*/ 238 w 1126"/>
                <a:gd name="T105" fmla="*/ 537 h 1125"/>
                <a:gd name="T106" fmla="*/ 297 w 1126"/>
                <a:gd name="T107" fmla="*/ 606 h 1125"/>
                <a:gd name="T108" fmla="*/ 526 w 1126"/>
                <a:gd name="T109" fmla="*/ 703 h 1125"/>
                <a:gd name="T110" fmla="*/ 316 w 1126"/>
                <a:gd name="T111" fmla="*/ 971 h 1125"/>
                <a:gd name="T112" fmla="*/ 328 w 1126"/>
                <a:gd name="T113" fmla="*/ 758 h 1125"/>
                <a:gd name="T114" fmla="*/ 244 w 1126"/>
                <a:gd name="T115" fmla="*/ 580 h 1125"/>
                <a:gd name="T116" fmla="*/ 86 w 1126"/>
                <a:gd name="T117" fmla="*/ 411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6" h="1125">
                  <a:moveTo>
                    <a:pt x="839" y="72"/>
                  </a:moveTo>
                  <a:cubicBezTo>
                    <a:pt x="839" y="72"/>
                    <a:pt x="839" y="72"/>
                    <a:pt x="839" y="72"/>
                  </a:cubicBezTo>
                  <a:cubicBezTo>
                    <a:pt x="826" y="65"/>
                    <a:pt x="814" y="58"/>
                    <a:pt x="801" y="52"/>
                  </a:cubicBezTo>
                  <a:cubicBezTo>
                    <a:pt x="801" y="52"/>
                    <a:pt x="800" y="52"/>
                    <a:pt x="800" y="52"/>
                  </a:cubicBezTo>
                  <a:cubicBezTo>
                    <a:pt x="787" y="46"/>
                    <a:pt x="774" y="40"/>
                    <a:pt x="761" y="35"/>
                  </a:cubicBezTo>
                  <a:cubicBezTo>
                    <a:pt x="761" y="35"/>
                    <a:pt x="760" y="35"/>
                    <a:pt x="760" y="35"/>
                  </a:cubicBezTo>
                  <a:cubicBezTo>
                    <a:pt x="753" y="32"/>
                    <a:pt x="747" y="30"/>
                    <a:pt x="740" y="28"/>
                  </a:cubicBezTo>
                  <a:cubicBezTo>
                    <a:pt x="740" y="28"/>
                    <a:pt x="739" y="28"/>
                    <a:pt x="738" y="27"/>
                  </a:cubicBezTo>
                  <a:cubicBezTo>
                    <a:pt x="732" y="25"/>
                    <a:pt x="725" y="23"/>
                    <a:pt x="719" y="21"/>
                  </a:cubicBezTo>
                  <a:cubicBezTo>
                    <a:pt x="719" y="21"/>
                    <a:pt x="719" y="21"/>
                    <a:pt x="719" y="21"/>
                  </a:cubicBezTo>
                  <a:cubicBezTo>
                    <a:pt x="712" y="19"/>
                    <a:pt x="705" y="18"/>
                    <a:pt x="699" y="16"/>
                  </a:cubicBezTo>
                  <a:cubicBezTo>
                    <a:pt x="698" y="16"/>
                    <a:pt x="697" y="15"/>
                    <a:pt x="696" y="15"/>
                  </a:cubicBezTo>
                  <a:cubicBezTo>
                    <a:pt x="689" y="14"/>
                    <a:pt x="682" y="12"/>
                    <a:pt x="676" y="11"/>
                  </a:cubicBezTo>
                  <a:lnTo>
                    <a:pt x="675" y="11"/>
                  </a:lnTo>
                  <a:cubicBezTo>
                    <a:pt x="669" y="9"/>
                    <a:pt x="662" y="8"/>
                    <a:pt x="656" y="7"/>
                  </a:cubicBezTo>
                  <a:cubicBezTo>
                    <a:pt x="654" y="7"/>
                    <a:pt x="653" y="7"/>
                    <a:pt x="652" y="7"/>
                  </a:cubicBezTo>
                  <a:cubicBezTo>
                    <a:pt x="646" y="5"/>
                    <a:pt x="639" y="5"/>
                    <a:pt x="632" y="4"/>
                  </a:cubicBezTo>
                  <a:cubicBezTo>
                    <a:pt x="631" y="4"/>
                    <a:pt x="630" y="3"/>
                    <a:pt x="629" y="3"/>
                  </a:cubicBezTo>
                  <a:cubicBezTo>
                    <a:pt x="623" y="3"/>
                    <a:pt x="617" y="2"/>
                    <a:pt x="611" y="2"/>
                  </a:cubicBezTo>
                  <a:cubicBezTo>
                    <a:pt x="610" y="1"/>
                    <a:pt x="609" y="1"/>
                    <a:pt x="608" y="1"/>
                  </a:cubicBezTo>
                  <a:cubicBezTo>
                    <a:pt x="601" y="1"/>
                    <a:pt x="595" y="0"/>
                    <a:pt x="588" y="0"/>
                  </a:cubicBezTo>
                  <a:cubicBezTo>
                    <a:pt x="586" y="0"/>
                    <a:pt x="585" y="0"/>
                    <a:pt x="583" y="0"/>
                  </a:cubicBezTo>
                  <a:cubicBezTo>
                    <a:pt x="577" y="0"/>
                    <a:pt x="570" y="0"/>
                    <a:pt x="563" y="0"/>
                  </a:cubicBezTo>
                  <a:cubicBezTo>
                    <a:pt x="558" y="0"/>
                    <a:pt x="553" y="0"/>
                    <a:pt x="548" y="0"/>
                  </a:cubicBezTo>
                  <a:cubicBezTo>
                    <a:pt x="547" y="0"/>
                    <a:pt x="546" y="0"/>
                    <a:pt x="544" y="0"/>
                  </a:cubicBezTo>
                  <a:cubicBezTo>
                    <a:pt x="541" y="0"/>
                    <a:pt x="538" y="0"/>
                    <a:pt x="534" y="0"/>
                  </a:cubicBezTo>
                  <a:cubicBezTo>
                    <a:pt x="532" y="0"/>
                    <a:pt x="530" y="0"/>
                    <a:pt x="528" y="1"/>
                  </a:cubicBezTo>
                  <a:cubicBezTo>
                    <a:pt x="525" y="1"/>
                    <a:pt x="522" y="1"/>
                    <a:pt x="520" y="1"/>
                  </a:cubicBezTo>
                  <a:cubicBezTo>
                    <a:pt x="517" y="1"/>
                    <a:pt x="515" y="2"/>
                    <a:pt x="513" y="2"/>
                  </a:cubicBezTo>
                  <a:cubicBezTo>
                    <a:pt x="511" y="2"/>
                    <a:pt x="508" y="2"/>
                    <a:pt x="506" y="2"/>
                  </a:cubicBezTo>
                  <a:cubicBezTo>
                    <a:pt x="503" y="3"/>
                    <a:pt x="501" y="3"/>
                    <a:pt x="498" y="3"/>
                  </a:cubicBezTo>
                  <a:cubicBezTo>
                    <a:pt x="496" y="4"/>
                    <a:pt x="494" y="4"/>
                    <a:pt x="492" y="4"/>
                  </a:cubicBezTo>
                  <a:cubicBezTo>
                    <a:pt x="489" y="4"/>
                    <a:pt x="486" y="5"/>
                    <a:pt x="483" y="5"/>
                  </a:cubicBezTo>
                  <a:cubicBezTo>
                    <a:pt x="481" y="5"/>
                    <a:pt x="480" y="6"/>
                    <a:pt x="478" y="6"/>
                  </a:cubicBezTo>
                  <a:cubicBezTo>
                    <a:pt x="475" y="6"/>
                    <a:pt x="472" y="7"/>
                    <a:pt x="469" y="7"/>
                  </a:cubicBezTo>
                  <a:cubicBezTo>
                    <a:pt x="467" y="8"/>
                    <a:pt x="465" y="8"/>
                    <a:pt x="464" y="8"/>
                  </a:cubicBezTo>
                  <a:cubicBezTo>
                    <a:pt x="461" y="9"/>
                    <a:pt x="458" y="9"/>
                    <a:pt x="455" y="10"/>
                  </a:cubicBezTo>
                  <a:cubicBezTo>
                    <a:pt x="453" y="10"/>
                    <a:pt x="452" y="10"/>
                    <a:pt x="450" y="11"/>
                  </a:cubicBezTo>
                  <a:cubicBezTo>
                    <a:pt x="447" y="11"/>
                    <a:pt x="444" y="12"/>
                    <a:pt x="441" y="13"/>
                  </a:cubicBezTo>
                  <a:cubicBezTo>
                    <a:pt x="439" y="13"/>
                    <a:pt x="438" y="13"/>
                    <a:pt x="437" y="14"/>
                  </a:cubicBezTo>
                  <a:cubicBezTo>
                    <a:pt x="433" y="15"/>
                    <a:pt x="430" y="15"/>
                    <a:pt x="427" y="16"/>
                  </a:cubicBezTo>
                  <a:cubicBezTo>
                    <a:pt x="426" y="16"/>
                    <a:pt x="424" y="17"/>
                    <a:pt x="423" y="17"/>
                  </a:cubicBezTo>
                  <a:cubicBezTo>
                    <a:pt x="420" y="18"/>
                    <a:pt x="417" y="19"/>
                    <a:pt x="413" y="20"/>
                  </a:cubicBezTo>
                  <a:cubicBezTo>
                    <a:pt x="412" y="20"/>
                    <a:pt x="411" y="20"/>
                    <a:pt x="410" y="21"/>
                  </a:cubicBezTo>
                  <a:cubicBezTo>
                    <a:pt x="406" y="22"/>
                    <a:pt x="403" y="23"/>
                    <a:pt x="400" y="24"/>
                  </a:cubicBezTo>
                  <a:cubicBezTo>
                    <a:pt x="399" y="24"/>
                    <a:pt x="398" y="24"/>
                    <a:pt x="397" y="25"/>
                  </a:cubicBezTo>
                  <a:cubicBezTo>
                    <a:pt x="393" y="26"/>
                    <a:pt x="390" y="27"/>
                    <a:pt x="386" y="28"/>
                  </a:cubicBezTo>
                  <a:cubicBezTo>
                    <a:pt x="385" y="28"/>
                    <a:pt x="384" y="28"/>
                    <a:pt x="383" y="29"/>
                  </a:cubicBezTo>
                  <a:cubicBezTo>
                    <a:pt x="380" y="30"/>
                    <a:pt x="376" y="31"/>
                    <a:pt x="373" y="32"/>
                  </a:cubicBezTo>
                  <a:cubicBezTo>
                    <a:pt x="372" y="33"/>
                    <a:pt x="371" y="33"/>
                    <a:pt x="371" y="33"/>
                  </a:cubicBezTo>
                  <a:cubicBezTo>
                    <a:pt x="367" y="35"/>
                    <a:pt x="363" y="36"/>
                    <a:pt x="360" y="37"/>
                  </a:cubicBezTo>
                  <a:cubicBezTo>
                    <a:pt x="359" y="38"/>
                    <a:pt x="359" y="38"/>
                    <a:pt x="358" y="38"/>
                  </a:cubicBezTo>
                  <a:cubicBezTo>
                    <a:pt x="354" y="40"/>
                    <a:pt x="351" y="41"/>
                    <a:pt x="347" y="42"/>
                  </a:cubicBezTo>
                  <a:cubicBezTo>
                    <a:pt x="346" y="43"/>
                    <a:pt x="346" y="43"/>
                    <a:pt x="345" y="43"/>
                  </a:cubicBezTo>
                  <a:cubicBezTo>
                    <a:pt x="342" y="45"/>
                    <a:pt x="338" y="46"/>
                    <a:pt x="334" y="48"/>
                  </a:cubicBezTo>
                  <a:cubicBezTo>
                    <a:pt x="334" y="48"/>
                    <a:pt x="333" y="48"/>
                    <a:pt x="333" y="49"/>
                  </a:cubicBezTo>
                  <a:cubicBezTo>
                    <a:pt x="329" y="50"/>
                    <a:pt x="325" y="52"/>
                    <a:pt x="322" y="54"/>
                  </a:cubicBezTo>
                  <a:cubicBezTo>
                    <a:pt x="321" y="54"/>
                    <a:pt x="321" y="54"/>
                    <a:pt x="320" y="54"/>
                  </a:cubicBezTo>
                  <a:cubicBezTo>
                    <a:pt x="317" y="56"/>
                    <a:pt x="313" y="58"/>
                    <a:pt x="309" y="60"/>
                  </a:cubicBezTo>
                  <a:cubicBezTo>
                    <a:pt x="309" y="60"/>
                    <a:pt x="309" y="60"/>
                    <a:pt x="308" y="60"/>
                  </a:cubicBezTo>
                  <a:cubicBezTo>
                    <a:pt x="305" y="62"/>
                    <a:pt x="301" y="64"/>
                    <a:pt x="297" y="66"/>
                  </a:cubicBezTo>
                  <a:cubicBezTo>
                    <a:pt x="297" y="66"/>
                    <a:pt x="297" y="67"/>
                    <a:pt x="296" y="67"/>
                  </a:cubicBezTo>
                  <a:cubicBezTo>
                    <a:pt x="293" y="69"/>
                    <a:pt x="289" y="71"/>
                    <a:pt x="285" y="73"/>
                  </a:cubicBezTo>
                  <a:cubicBezTo>
                    <a:pt x="285" y="73"/>
                    <a:pt x="285" y="73"/>
                    <a:pt x="285" y="73"/>
                  </a:cubicBezTo>
                  <a:cubicBezTo>
                    <a:pt x="281" y="75"/>
                    <a:pt x="277" y="77"/>
                    <a:pt x="273" y="80"/>
                  </a:cubicBezTo>
                  <a:lnTo>
                    <a:pt x="273" y="80"/>
                  </a:lnTo>
                  <a:cubicBezTo>
                    <a:pt x="269" y="82"/>
                    <a:pt x="266" y="85"/>
                    <a:pt x="262" y="87"/>
                  </a:cubicBezTo>
                  <a:lnTo>
                    <a:pt x="262" y="87"/>
                  </a:lnTo>
                  <a:cubicBezTo>
                    <a:pt x="258" y="89"/>
                    <a:pt x="254" y="92"/>
                    <a:pt x="251" y="94"/>
                  </a:cubicBezTo>
                  <a:cubicBezTo>
                    <a:pt x="250" y="94"/>
                    <a:pt x="250" y="94"/>
                    <a:pt x="250" y="94"/>
                  </a:cubicBezTo>
                  <a:cubicBezTo>
                    <a:pt x="247" y="97"/>
                    <a:pt x="243" y="99"/>
                    <a:pt x="239" y="102"/>
                  </a:cubicBezTo>
                  <a:lnTo>
                    <a:pt x="239" y="102"/>
                  </a:lnTo>
                  <a:cubicBezTo>
                    <a:pt x="236" y="105"/>
                    <a:pt x="232" y="107"/>
                    <a:pt x="228" y="110"/>
                  </a:cubicBezTo>
                  <a:lnTo>
                    <a:pt x="228" y="110"/>
                  </a:lnTo>
                  <a:cubicBezTo>
                    <a:pt x="225" y="113"/>
                    <a:pt x="221" y="115"/>
                    <a:pt x="218" y="118"/>
                  </a:cubicBezTo>
                  <a:lnTo>
                    <a:pt x="218" y="118"/>
                  </a:lnTo>
                  <a:cubicBezTo>
                    <a:pt x="214" y="121"/>
                    <a:pt x="211" y="124"/>
                    <a:pt x="207" y="126"/>
                  </a:cubicBezTo>
                  <a:lnTo>
                    <a:pt x="207" y="126"/>
                  </a:lnTo>
                  <a:cubicBezTo>
                    <a:pt x="204" y="129"/>
                    <a:pt x="200" y="132"/>
                    <a:pt x="197" y="135"/>
                  </a:cubicBezTo>
                  <a:lnTo>
                    <a:pt x="197" y="135"/>
                  </a:lnTo>
                  <a:cubicBezTo>
                    <a:pt x="193" y="138"/>
                    <a:pt x="190" y="141"/>
                    <a:pt x="187" y="144"/>
                  </a:cubicBezTo>
                  <a:lnTo>
                    <a:pt x="187" y="144"/>
                  </a:lnTo>
                  <a:cubicBezTo>
                    <a:pt x="184" y="147"/>
                    <a:pt x="180" y="150"/>
                    <a:pt x="177" y="153"/>
                  </a:cubicBezTo>
                  <a:lnTo>
                    <a:pt x="177" y="153"/>
                  </a:lnTo>
                  <a:cubicBezTo>
                    <a:pt x="174" y="156"/>
                    <a:pt x="171" y="159"/>
                    <a:pt x="167" y="162"/>
                  </a:cubicBezTo>
                  <a:cubicBezTo>
                    <a:pt x="167" y="162"/>
                    <a:pt x="167" y="162"/>
                    <a:pt x="167" y="162"/>
                  </a:cubicBezTo>
                  <a:lnTo>
                    <a:pt x="167" y="162"/>
                  </a:lnTo>
                  <a:cubicBezTo>
                    <a:pt x="121" y="208"/>
                    <a:pt x="83" y="261"/>
                    <a:pt x="55" y="321"/>
                  </a:cubicBezTo>
                  <a:cubicBezTo>
                    <a:pt x="54" y="322"/>
                    <a:pt x="54" y="323"/>
                    <a:pt x="53" y="324"/>
                  </a:cubicBezTo>
                  <a:cubicBezTo>
                    <a:pt x="52" y="327"/>
                    <a:pt x="50" y="331"/>
                    <a:pt x="48" y="335"/>
                  </a:cubicBezTo>
                  <a:cubicBezTo>
                    <a:pt x="48" y="336"/>
                    <a:pt x="47" y="337"/>
                    <a:pt x="47" y="338"/>
                  </a:cubicBezTo>
                  <a:cubicBezTo>
                    <a:pt x="45" y="342"/>
                    <a:pt x="44" y="345"/>
                    <a:pt x="42" y="349"/>
                  </a:cubicBezTo>
                  <a:cubicBezTo>
                    <a:pt x="42" y="350"/>
                    <a:pt x="41" y="351"/>
                    <a:pt x="41" y="353"/>
                  </a:cubicBezTo>
                  <a:cubicBezTo>
                    <a:pt x="39" y="356"/>
                    <a:pt x="38" y="360"/>
                    <a:pt x="36" y="364"/>
                  </a:cubicBezTo>
                  <a:cubicBezTo>
                    <a:pt x="36" y="365"/>
                    <a:pt x="36" y="366"/>
                    <a:pt x="35" y="367"/>
                  </a:cubicBezTo>
                  <a:cubicBezTo>
                    <a:pt x="32" y="377"/>
                    <a:pt x="28" y="386"/>
                    <a:pt x="25" y="396"/>
                  </a:cubicBezTo>
                  <a:cubicBezTo>
                    <a:pt x="25" y="397"/>
                    <a:pt x="25" y="399"/>
                    <a:pt x="24" y="400"/>
                  </a:cubicBezTo>
                  <a:cubicBezTo>
                    <a:pt x="23" y="403"/>
                    <a:pt x="22" y="407"/>
                    <a:pt x="21" y="411"/>
                  </a:cubicBezTo>
                  <a:cubicBezTo>
                    <a:pt x="21" y="413"/>
                    <a:pt x="20" y="414"/>
                    <a:pt x="20" y="416"/>
                  </a:cubicBezTo>
                  <a:cubicBezTo>
                    <a:pt x="19" y="419"/>
                    <a:pt x="18" y="423"/>
                    <a:pt x="17" y="426"/>
                  </a:cubicBezTo>
                  <a:cubicBezTo>
                    <a:pt x="17" y="428"/>
                    <a:pt x="16" y="429"/>
                    <a:pt x="16" y="431"/>
                  </a:cubicBezTo>
                  <a:cubicBezTo>
                    <a:pt x="15" y="435"/>
                    <a:pt x="14" y="438"/>
                    <a:pt x="13" y="442"/>
                  </a:cubicBezTo>
                  <a:cubicBezTo>
                    <a:pt x="13" y="443"/>
                    <a:pt x="13" y="445"/>
                    <a:pt x="12" y="446"/>
                  </a:cubicBezTo>
                  <a:cubicBezTo>
                    <a:pt x="12" y="451"/>
                    <a:pt x="11" y="455"/>
                    <a:pt x="10" y="459"/>
                  </a:cubicBezTo>
                  <a:cubicBezTo>
                    <a:pt x="10" y="460"/>
                    <a:pt x="10" y="461"/>
                    <a:pt x="9" y="462"/>
                  </a:cubicBezTo>
                  <a:cubicBezTo>
                    <a:pt x="8" y="467"/>
                    <a:pt x="8" y="472"/>
                    <a:pt x="7" y="477"/>
                  </a:cubicBezTo>
                  <a:cubicBezTo>
                    <a:pt x="7" y="478"/>
                    <a:pt x="7" y="479"/>
                    <a:pt x="6" y="480"/>
                  </a:cubicBezTo>
                  <a:cubicBezTo>
                    <a:pt x="6" y="484"/>
                    <a:pt x="5" y="489"/>
                    <a:pt x="5" y="493"/>
                  </a:cubicBezTo>
                  <a:cubicBezTo>
                    <a:pt x="5" y="494"/>
                    <a:pt x="4" y="496"/>
                    <a:pt x="4" y="498"/>
                  </a:cubicBezTo>
                  <a:cubicBezTo>
                    <a:pt x="4" y="501"/>
                    <a:pt x="3" y="505"/>
                    <a:pt x="3" y="508"/>
                  </a:cubicBezTo>
                  <a:cubicBezTo>
                    <a:pt x="3" y="510"/>
                    <a:pt x="3" y="512"/>
                    <a:pt x="3" y="514"/>
                  </a:cubicBezTo>
                  <a:cubicBezTo>
                    <a:pt x="2" y="517"/>
                    <a:pt x="2" y="521"/>
                    <a:pt x="2" y="524"/>
                  </a:cubicBezTo>
                  <a:cubicBezTo>
                    <a:pt x="2" y="526"/>
                    <a:pt x="2" y="528"/>
                    <a:pt x="1" y="530"/>
                  </a:cubicBezTo>
                  <a:cubicBezTo>
                    <a:pt x="1" y="534"/>
                    <a:pt x="1" y="537"/>
                    <a:pt x="1" y="541"/>
                  </a:cubicBezTo>
                  <a:cubicBezTo>
                    <a:pt x="1" y="543"/>
                    <a:pt x="1" y="544"/>
                    <a:pt x="1" y="546"/>
                  </a:cubicBezTo>
                  <a:cubicBezTo>
                    <a:pt x="1" y="551"/>
                    <a:pt x="0" y="557"/>
                    <a:pt x="0" y="562"/>
                  </a:cubicBezTo>
                  <a:cubicBezTo>
                    <a:pt x="0" y="873"/>
                    <a:pt x="252" y="1125"/>
                    <a:pt x="563" y="1125"/>
                  </a:cubicBezTo>
                  <a:cubicBezTo>
                    <a:pt x="874" y="1125"/>
                    <a:pt x="1126" y="873"/>
                    <a:pt x="1126" y="562"/>
                  </a:cubicBezTo>
                  <a:cubicBezTo>
                    <a:pt x="1126" y="352"/>
                    <a:pt x="1010" y="168"/>
                    <a:pt x="839" y="72"/>
                  </a:cubicBezTo>
                  <a:close/>
                  <a:moveTo>
                    <a:pt x="1013" y="344"/>
                  </a:moveTo>
                  <a:lnTo>
                    <a:pt x="977" y="364"/>
                  </a:lnTo>
                  <a:lnTo>
                    <a:pt x="991" y="400"/>
                  </a:lnTo>
                  <a:lnTo>
                    <a:pt x="985" y="425"/>
                  </a:lnTo>
                  <a:lnTo>
                    <a:pt x="1021" y="428"/>
                  </a:lnTo>
                  <a:lnTo>
                    <a:pt x="1015" y="387"/>
                  </a:lnTo>
                  <a:lnTo>
                    <a:pt x="1001" y="368"/>
                  </a:lnTo>
                  <a:lnTo>
                    <a:pt x="1017" y="361"/>
                  </a:lnTo>
                  <a:lnTo>
                    <a:pt x="1017" y="353"/>
                  </a:lnTo>
                  <a:cubicBezTo>
                    <a:pt x="1038" y="399"/>
                    <a:pt x="1053" y="449"/>
                    <a:pt x="1059" y="501"/>
                  </a:cubicBezTo>
                  <a:lnTo>
                    <a:pt x="1020" y="494"/>
                  </a:lnTo>
                  <a:lnTo>
                    <a:pt x="998" y="475"/>
                  </a:lnTo>
                  <a:lnTo>
                    <a:pt x="986" y="481"/>
                  </a:lnTo>
                  <a:lnTo>
                    <a:pt x="1003" y="520"/>
                  </a:lnTo>
                  <a:lnTo>
                    <a:pt x="1028" y="507"/>
                  </a:lnTo>
                  <a:lnTo>
                    <a:pt x="1062" y="532"/>
                  </a:lnTo>
                  <a:lnTo>
                    <a:pt x="1062" y="533"/>
                  </a:lnTo>
                  <a:lnTo>
                    <a:pt x="962" y="592"/>
                  </a:lnTo>
                  <a:lnTo>
                    <a:pt x="911" y="491"/>
                  </a:lnTo>
                  <a:lnTo>
                    <a:pt x="900" y="492"/>
                  </a:lnTo>
                  <a:lnTo>
                    <a:pt x="953" y="613"/>
                  </a:lnTo>
                  <a:lnTo>
                    <a:pt x="1004" y="589"/>
                  </a:lnTo>
                  <a:lnTo>
                    <a:pt x="988" y="645"/>
                  </a:lnTo>
                  <a:lnTo>
                    <a:pt x="937" y="692"/>
                  </a:lnTo>
                  <a:lnTo>
                    <a:pt x="944" y="761"/>
                  </a:lnTo>
                  <a:lnTo>
                    <a:pt x="916" y="784"/>
                  </a:lnTo>
                  <a:lnTo>
                    <a:pt x="862" y="884"/>
                  </a:lnTo>
                  <a:lnTo>
                    <a:pt x="809" y="894"/>
                  </a:lnTo>
                  <a:lnTo>
                    <a:pt x="762" y="781"/>
                  </a:lnTo>
                  <a:lnTo>
                    <a:pt x="774" y="729"/>
                  </a:lnTo>
                  <a:lnTo>
                    <a:pt x="745" y="639"/>
                  </a:lnTo>
                  <a:lnTo>
                    <a:pt x="646" y="645"/>
                  </a:lnTo>
                  <a:lnTo>
                    <a:pt x="592" y="592"/>
                  </a:lnTo>
                  <a:lnTo>
                    <a:pt x="601" y="505"/>
                  </a:lnTo>
                  <a:lnTo>
                    <a:pt x="654" y="441"/>
                  </a:lnTo>
                  <a:lnTo>
                    <a:pt x="758" y="423"/>
                  </a:lnTo>
                  <a:lnTo>
                    <a:pt x="764" y="450"/>
                  </a:lnTo>
                  <a:lnTo>
                    <a:pt x="806" y="478"/>
                  </a:lnTo>
                  <a:lnTo>
                    <a:pt x="822" y="455"/>
                  </a:lnTo>
                  <a:lnTo>
                    <a:pt x="886" y="472"/>
                  </a:lnTo>
                  <a:lnTo>
                    <a:pt x="903" y="462"/>
                  </a:lnTo>
                  <a:lnTo>
                    <a:pt x="910" y="437"/>
                  </a:lnTo>
                  <a:lnTo>
                    <a:pt x="866" y="430"/>
                  </a:lnTo>
                  <a:lnTo>
                    <a:pt x="851" y="405"/>
                  </a:lnTo>
                  <a:lnTo>
                    <a:pt x="841" y="400"/>
                  </a:lnTo>
                  <a:lnTo>
                    <a:pt x="832" y="431"/>
                  </a:lnTo>
                  <a:lnTo>
                    <a:pt x="812" y="407"/>
                  </a:lnTo>
                  <a:lnTo>
                    <a:pt x="814" y="386"/>
                  </a:lnTo>
                  <a:lnTo>
                    <a:pt x="787" y="365"/>
                  </a:lnTo>
                  <a:lnTo>
                    <a:pt x="772" y="357"/>
                  </a:lnTo>
                  <a:lnTo>
                    <a:pt x="773" y="378"/>
                  </a:lnTo>
                  <a:lnTo>
                    <a:pt x="806" y="400"/>
                  </a:lnTo>
                  <a:lnTo>
                    <a:pt x="789" y="420"/>
                  </a:lnTo>
                  <a:lnTo>
                    <a:pt x="765" y="388"/>
                  </a:lnTo>
                  <a:lnTo>
                    <a:pt x="748" y="369"/>
                  </a:lnTo>
                  <a:lnTo>
                    <a:pt x="709" y="388"/>
                  </a:lnTo>
                  <a:lnTo>
                    <a:pt x="682" y="432"/>
                  </a:lnTo>
                  <a:lnTo>
                    <a:pt x="640" y="425"/>
                  </a:lnTo>
                  <a:lnTo>
                    <a:pt x="637" y="373"/>
                  </a:lnTo>
                  <a:lnTo>
                    <a:pt x="691" y="377"/>
                  </a:lnTo>
                  <a:lnTo>
                    <a:pt x="674" y="349"/>
                  </a:lnTo>
                  <a:lnTo>
                    <a:pt x="663" y="327"/>
                  </a:lnTo>
                  <a:lnTo>
                    <a:pt x="704" y="314"/>
                  </a:lnTo>
                  <a:lnTo>
                    <a:pt x="726" y="284"/>
                  </a:lnTo>
                  <a:lnTo>
                    <a:pt x="744" y="283"/>
                  </a:lnTo>
                  <a:lnTo>
                    <a:pt x="741" y="266"/>
                  </a:lnTo>
                  <a:lnTo>
                    <a:pt x="752" y="250"/>
                  </a:lnTo>
                  <a:lnTo>
                    <a:pt x="761" y="276"/>
                  </a:lnTo>
                  <a:lnTo>
                    <a:pt x="812" y="277"/>
                  </a:lnTo>
                  <a:lnTo>
                    <a:pt x="827" y="241"/>
                  </a:lnTo>
                  <a:lnTo>
                    <a:pt x="846" y="248"/>
                  </a:lnTo>
                  <a:lnTo>
                    <a:pt x="840" y="223"/>
                  </a:lnTo>
                  <a:lnTo>
                    <a:pt x="870" y="213"/>
                  </a:lnTo>
                  <a:lnTo>
                    <a:pt x="861" y="202"/>
                  </a:lnTo>
                  <a:lnTo>
                    <a:pt x="833" y="210"/>
                  </a:lnTo>
                  <a:lnTo>
                    <a:pt x="824" y="186"/>
                  </a:lnTo>
                  <a:lnTo>
                    <a:pt x="822" y="186"/>
                  </a:lnTo>
                  <a:lnTo>
                    <a:pt x="823" y="184"/>
                  </a:lnTo>
                  <a:lnTo>
                    <a:pt x="819" y="174"/>
                  </a:lnTo>
                  <a:lnTo>
                    <a:pt x="830" y="167"/>
                  </a:lnTo>
                  <a:lnTo>
                    <a:pt x="838" y="145"/>
                  </a:lnTo>
                  <a:cubicBezTo>
                    <a:pt x="913" y="194"/>
                    <a:pt x="973" y="263"/>
                    <a:pt x="1013" y="344"/>
                  </a:cubicBezTo>
                  <a:close/>
                  <a:moveTo>
                    <a:pt x="957" y="819"/>
                  </a:moveTo>
                  <a:lnTo>
                    <a:pt x="958" y="767"/>
                  </a:lnTo>
                  <a:lnTo>
                    <a:pt x="994" y="739"/>
                  </a:lnTo>
                  <a:lnTo>
                    <a:pt x="999" y="765"/>
                  </a:lnTo>
                  <a:lnTo>
                    <a:pt x="978" y="828"/>
                  </a:lnTo>
                  <a:lnTo>
                    <a:pt x="957" y="819"/>
                  </a:lnTo>
                  <a:close/>
                  <a:moveTo>
                    <a:pt x="531" y="97"/>
                  </a:moveTo>
                  <a:lnTo>
                    <a:pt x="548" y="132"/>
                  </a:lnTo>
                  <a:lnTo>
                    <a:pt x="524" y="177"/>
                  </a:lnTo>
                  <a:lnTo>
                    <a:pt x="523" y="201"/>
                  </a:lnTo>
                  <a:lnTo>
                    <a:pt x="499" y="216"/>
                  </a:lnTo>
                  <a:lnTo>
                    <a:pt x="496" y="278"/>
                  </a:lnTo>
                  <a:lnTo>
                    <a:pt x="461" y="269"/>
                  </a:lnTo>
                  <a:lnTo>
                    <a:pt x="393" y="92"/>
                  </a:lnTo>
                  <a:cubicBezTo>
                    <a:pt x="431" y="78"/>
                    <a:pt x="471" y="69"/>
                    <a:pt x="512" y="65"/>
                  </a:cubicBezTo>
                  <a:lnTo>
                    <a:pt x="531" y="97"/>
                  </a:lnTo>
                  <a:close/>
                  <a:moveTo>
                    <a:pt x="832" y="141"/>
                  </a:moveTo>
                  <a:lnTo>
                    <a:pt x="829" y="141"/>
                  </a:lnTo>
                  <a:lnTo>
                    <a:pt x="812" y="161"/>
                  </a:lnTo>
                  <a:lnTo>
                    <a:pt x="798" y="193"/>
                  </a:lnTo>
                  <a:lnTo>
                    <a:pt x="814" y="210"/>
                  </a:lnTo>
                  <a:lnTo>
                    <a:pt x="798" y="251"/>
                  </a:lnTo>
                  <a:lnTo>
                    <a:pt x="775" y="260"/>
                  </a:lnTo>
                  <a:lnTo>
                    <a:pt x="761" y="219"/>
                  </a:lnTo>
                  <a:lnTo>
                    <a:pt x="734" y="234"/>
                  </a:lnTo>
                  <a:lnTo>
                    <a:pt x="721" y="227"/>
                  </a:lnTo>
                  <a:lnTo>
                    <a:pt x="722" y="186"/>
                  </a:lnTo>
                  <a:lnTo>
                    <a:pt x="746" y="168"/>
                  </a:lnTo>
                  <a:lnTo>
                    <a:pt x="765" y="120"/>
                  </a:lnTo>
                  <a:lnTo>
                    <a:pt x="780" y="112"/>
                  </a:lnTo>
                  <a:cubicBezTo>
                    <a:pt x="798" y="120"/>
                    <a:pt x="815" y="130"/>
                    <a:pt x="832" y="141"/>
                  </a:cubicBezTo>
                  <a:close/>
                  <a:moveTo>
                    <a:pt x="653" y="245"/>
                  </a:moveTo>
                  <a:lnTo>
                    <a:pt x="630" y="245"/>
                  </a:lnTo>
                  <a:lnTo>
                    <a:pt x="631" y="220"/>
                  </a:lnTo>
                  <a:lnTo>
                    <a:pt x="651" y="197"/>
                  </a:lnTo>
                  <a:lnTo>
                    <a:pt x="649" y="179"/>
                  </a:lnTo>
                  <a:lnTo>
                    <a:pt x="670" y="164"/>
                  </a:lnTo>
                  <a:lnTo>
                    <a:pt x="705" y="232"/>
                  </a:lnTo>
                  <a:lnTo>
                    <a:pt x="696" y="246"/>
                  </a:lnTo>
                  <a:lnTo>
                    <a:pt x="664" y="261"/>
                  </a:lnTo>
                  <a:lnTo>
                    <a:pt x="664" y="214"/>
                  </a:lnTo>
                  <a:lnTo>
                    <a:pt x="653" y="245"/>
                  </a:lnTo>
                  <a:close/>
                  <a:moveTo>
                    <a:pt x="280" y="150"/>
                  </a:moveTo>
                  <a:lnTo>
                    <a:pt x="316" y="146"/>
                  </a:lnTo>
                  <a:lnTo>
                    <a:pt x="316" y="224"/>
                  </a:lnTo>
                  <a:lnTo>
                    <a:pt x="254" y="236"/>
                  </a:lnTo>
                  <a:lnTo>
                    <a:pt x="242" y="269"/>
                  </a:lnTo>
                  <a:lnTo>
                    <a:pt x="301" y="333"/>
                  </a:lnTo>
                  <a:lnTo>
                    <a:pt x="316" y="331"/>
                  </a:lnTo>
                  <a:lnTo>
                    <a:pt x="326" y="251"/>
                  </a:lnTo>
                  <a:lnTo>
                    <a:pt x="365" y="249"/>
                  </a:lnTo>
                  <a:lnTo>
                    <a:pt x="381" y="294"/>
                  </a:lnTo>
                  <a:lnTo>
                    <a:pt x="401" y="281"/>
                  </a:lnTo>
                  <a:lnTo>
                    <a:pt x="446" y="382"/>
                  </a:lnTo>
                  <a:lnTo>
                    <a:pt x="383" y="411"/>
                  </a:lnTo>
                  <a:lnTo>
                    <a:pt x="334" y="437"/>
                  </a:lnTo>
                  <a:lnTo>
                    <a:pt x="295" y="490"/>
                  </a:lnTo>
                  <a:lnTo>
                    <a:pt x="295" y="517"/>
                  </a:lnTo>
                  <a:lnTo>
                    <a:pt x="281" y="519"/>
                  </a:lnTo>
                  <a:lnTo>
                    <a:pt x="271" y="490"/>
                  </a:lnTo>
                  <a:lnTo>
                    <a:pt x="215" y="499"/>
                  </a:lnTo>
                  <a:lnTo>
                    <a:pt x="203" y="533"/>
                  </a:lnTo>
                  <a:lnTo>
                    <a:pt x="217" y="554"/>
                  </a:lnTo>
                  <a:lnTo>
                    <a:pt x="238" y="537"/>
                  </a:lnTo>
                  <a:lnTo>
                    <a:pt x="258" y="539"/>
                  </a:lnTo>
                  <a:lnTo>
                    <a:pt x="248" y="568"/>
                  </a:lnTo>
                  <a:lnTo>
                    <a:pt x="273" y="570"/>
                  </a:lnTo>
                  <a:lnTo>
                    <a:pt x="281" y="601"/>
                  </a:lnTo>
                  <a:lnTo>
                    <a:pt x="297" y="606"/>
                  </a:lnTo>
                  <a:lnTo>
                    <a:pt x="309" y="586"/>
                  </a:lnTo>
                  <a:lnTo>
                    <a:pt x="391" y="595"/>
                  </a:lnTo>
                  <a:lnTo>
                    <a:pt x="446" y="636"/>
                  </a:lnTo>
                  <a:lnTo>
                    <a:pt x="455" y="668"/>
                  </a:lnTo>
                  <a:lnTo>
                    <a:pt x="526" y="703"/>
                  </a:lnTo>
                  <a:lnTo>
                    <a:pt x="485" y="787"/>
                  </a:lnTo>
                  <a:lnTo>
                    <a:pt x="445" y="793"/>
                  </a:lnTo>
                  <a:lnTo>
                    <a:pt x="438" y="826"/>
                  </a:lnTo>
                  <a:lnTo>
                    <a:pt x="354" y="898"/>
                  </a:lnTo>
                  <a:lnTo>
                    <a:pt x="316" y="971"/>
                  </a:lnTo>
                  <a:lnTo>
                    <a:pt x="344" y="1002"/>
                  </a:lnTo>
                  <a:lnTo>
                    <a:pt x="310" y="993"/>
                  </a:lnTo>
                  <a:cubicBezTo>
                    <a:pt x="305" y="990"/>
                    <a:pt x="300" y="987"/>
                    <a:pt x="295" y="984"/>
                  </a:cubicBezTo>
                  <a:lnTo>
                    <a:pt x="281" y="949"/>
                  </a:lnTo>
                  <a:lnTo>
                    <a:pt x="328" y="758"/>
                  </a:lnTo>
                  <a:lnTo>
                    <a:pt x="289" y="724"/>
                  </a:lnTo>
                  <a:lnTo>
                    <a:pt x="271" y="650"/>
                  </a:lnTo>
                  <a:lnTo>
                    <a:pt x="293" y="614"/>
                  </a:lnTo>
                  <a:lnTo>
                    <a:pt x="273" y="617"/>
                  </a:lnTo>
                  <a:lnTo>
                    <a:pt x="244" y="580"/>
                  </a:lnTo>
                  <a:lnTo>
                    <a:pt x="219" y="568"/>
                  </a:lnTo>
                  <a:lnTo>
                    <a:pt x="162" y="548"/>
                  </a:lnTo>
                  <a:lnTo>
                    <a:pt x="115" y="474"/>
                  </a:lnTo>
                  <a:lnTo>
                    <a:pt x="86" y="421"/>
                  </a:lnTo>
                  <a:lnTo>
                    <a:pt x="86" y="411"/>
                  </a:lnTo>
                  <a:cubicBezTo>
                    <a:pt x="120" y="304"/>
                    <a:pt x="189" y="213"/>
                    <a:pt x="280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" name="Book_shelf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D326E44-52AB-424E-81AE-5F2199940963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5645631" y="2577878"/>
            <a:ext cx="804213" cy="542925"/>
            <a:chOff x="2141538" y="-1878012"/>
            <a:chExt cx="1192212" cy="804863"/>
          </a:xfrm>
        </p:grpSpPr>
        <p:sp>
          <p:nvSpPr>
            <p:cNvPr id="23" name="Freeform 209">
              <a:extLst>
                <a:ext uri="{FF2B5EF4-FFF2-40B4-BE49-F238E27FC236}">
                  <a16:creationId xmlns:a16="http://schemas.microsoft.com/office/drawing/2014/main" id="{DE325A48-D875-40BE-81D5-BAA9F1903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0700" y="-1847850"/>
              <a:ext cx="273050" cy="773113"/>
            </a:xfrm>
            <a:custGeom>
              <a:avLst/>
              <a:gdLst>
                <a:gd name="T0" fmla="*/ 302 w 358"/>
                <a:gd name="T1" fmla="*/ 412 h 1013"/>
                <a:gd name="T2" fmla="*/ 281 w 358"/>
                <a:gd name="T3" fmla="*/ 433 h 1013"/>
                <a:gd name="T4" fmla="*/ 77 w 358"/>
                <a:gd name="T5" fmla="*/ 433 h 1013"/>
                <a:gd name="T6" fmla="*/ 56 w 358"/>
                <a:gd name="T7" fmla="*/ 412 h 1013"/>
                <a:gd name="T8" fmla="*/ 56 w 358"/>
                <a:gd name="T9" fmla="*/ 77 h 1013"/>
                <a:gd name="T10" fmla="*/ 77 w 358"/>
                <a:gd name="T11" fmla="*/ 56 h 1013"/>
                <a:gd name="T12" fmla="*/ 281 w 358"/>
                <a:gd name="T13" fmla="*/ 56 h 1013"/>
                <a:gd name="T14" fmla="*/ 302 w 358"/>
                <a:gd name="T15" fmla="*/ 77 h 1013"/>
                <a:gd name="T16" fmla="*/ 302 w 358"/>
                <a:gd name="T17" fmla="*/ 412 h 1013"/>
                <a:gd name="T18" fmla="*/ 179 w 358"/>
                <a:gd name="T19" fmla="*/ 814 h 1013"/>
                <a:gd name="T20" fmla="*/ 59 w 358"/>
                <a:gd name="T21" fmla="*/ 694 h 1013"/>
                <a:gd name="T22" fmla="*/ 179 w 358"/>
                <a:gd name="T23" fmla="*/ 574 h 1013"/>
                <a:gd name="T24" fmla="*/ 299 w 358"/>
                <a:gd name="T25" fmla="*/ 694 h 1013"/>
                <a:gd name="T26" fmla="*/ 179 w 358"/>
                <a:gd name="T27" fmla="*/ 814 h 1013"/>
                <a:gd name="T28" fmla="*/ 179 w 358"/>
                <a:gd name="T29" fmla="*/ 946 h 1013"/>
                <a:gd name="T30" fmla="*/ 133 w 358"/>
                <a:gd name="T31" fmla="*/ 900 h 1013"/>
                <a:gd name="T32" fmla="*/ 179 w 358"/>
                <a:gd name="T33" fmla="*/ 854 h 1013"/>
                <a:gd name="T34" fmla="*/ 225 w 358"/>
                <a:gd name="T35" fmla="*/ 900 h 1013"/>
                <a:gd name="T36" fmla="*/ 179 w 358"/>
                <a:gd name="T37" fmla="*/ 946 h 1013"/>
                <a:gd name="T38" fmla="*/ 300 w 358"/>
                <a:gd name="T39" fmla="*/ 0 h 1013"/>
                <a:gd name="T40" fmla="*/ 59 w 358"/>
                <a:gd name="T41" fmla="*/ 0 h 1013"/>
                <a:gd name="T42" fmla="*/ 0 w 358"/>
                <a:gd name="T43" fmla="*/ 58 h 1013"/>
                <a:gd name="T44" fmla="*/ 0 w 358"/>
                <a:gd name="T45" fmla="*/ 955 h 1013"/>
                <a:gd name="T46" fmla="*/ 59 w 358"/>
                <a:gd name="T47" fmla="*/ 1013 h 1013"/>
                <a:gd name="T48" fmla="*/ 300 w 358"/>
                <a:gd name="T49" fmla="*/ 1013 h 1013"/>
                <a:gd name="T50" fmla="*/ 358 w 358"/>
                <a:gd name="T51" fmla="*/ 955 h 1013"/>
                <a:gd name="T52" fmla="*/ 358 w 358"/>
                <a:gd name="T53" fmla="*/ 58 h 1013"/>
                <a:gd name="T54" fmla="*/ 300 w 358"/>
                <a:gd name="T55" fmla="*/ 0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8" h="1013">
                  <a:moveTo>
                    <a:pt x="302" y="412"/>
                  </a:moveTo>
                  <a:cubicBezTo>
                    <a:pt x="302" y="423"/>
                    <a:pt x="292" y="433"/>
                    <a:pt x="281" y="433"/>
                  </a:cubicBezTo>
                  <a:lnTo>
                    <a:pt x="77" y="433"/>
                  </a:lnTo>
                  <a:cubicBezTo>
                    <a:pt x="66" y="433"/>
                    <a:pt x="56" y="423"/>
                    <a:pt x="56" y="412"/>
                  </a:cubicBezTo>
                  <a:lnTo>
                    <a:pt x="56" y="77"/>
                  </a:lnTo>
                  <a:cubicBezTo>
                    <a:pt x="56" y="65"/>
                    <a:pt x="66" y="56"/>
                    <a:pt x="77" y="56"/>
                  </a:cubicBezTo>
                  <a:lnTo>
                    <a:pt x="281" y="56"/>
                  </a:lnTo>
                  <a:cubicBezTo>
                    <a:pt x="292" y="56"/>
                    <a:pt x="302" y="65"/>
                    <a:pt x="302" y="77"/>
                  </a:cubicBezTo>
                  <a:lnTo>
                    <a:pt x="302" y="412"/>
                  </a:lnTo>
                  <a:close/>
                  <a:moveTo>
                    <a:pt x="179" y="814"/>
                  </a:moveTo>
                  <a:cubicBezTo>
                    <a:pt x="113" y="814"/>
                    <a:pt x="59" y="760"/>
                    <a:pt x="59" y="694"/>
                  </a:cubicBezTo>
                  <a:cubicBezTo>
                    <a:pt x="59" y="627"/>
                    <a:pt x="113" y="574"/>
                    <a:pt x="179" y="574"/>
                  </a:cubicBezTo>
                  <a:cubicBezTo>
                    <a:pt x="245" y="574"/>
                    <a:pt x="299" y="627"/>
                    <a:pt x="299" y="694"/>
                  </a:cubicBezTo>
                  <a:cubicBezTo>
                    <a:pt x="299" y="760"/>
                    <a:pt x="245" y="814"/>
                    <a:pt x="179" y="814"/>
                  </a:cubicBezTo>
                  <a:close/>
                  <a:moveTo>
                    <a:pt x="179" y="946"/>
                  </a:moveTo>
                  <a:cubicBezTo>
                    <a:pt x="154" y="946"/>
                    <a:pt x="133" y="925"/>
                    <a:pt x="133" y="900"/>
                  </a:cubicBezTo>
                  <a:cubicBezTo>
                    <a:pt x="133" y="875"/>
                    <a:pt x="154" y="854"/>
                    <a:pt x="179" y="854"/>
                  </a:cubicBezTo>
                  <a:cubicBezTo>
                    <a:pt x="204" y="854"/>
                    <a:pt x="225" y="875"/>
                    <a:pt x="225" y="900"/>
                  </a:cubicBezTo>
                  <a:cubicBezTo>
                    <a:pt x="225" y="925"/>
                    <a:pt x="204" y="946"/>
                    <a:pt x="179" y="946"/>
                  </a:cubicBezTo>
                  <a:close/>
                  <a:moveTo>
                    <a:pt x="300" y="0"/>
                  </a:moveTo>
                  <a:lnTo>
                    <a:pt x="59" y="0"/>
                  </a:lnTo>
                  <a:cubicBezTo>
                    <a:pt x="26" y="0"/>
                    <a:pt x="0" y="26"/>
                    <a:pt x="0" y="58"/>
                  </a:cubicBezTo>
                  <a:lnTo>
                    <a:pt x="0" y="955"/>
                  </a:lnTo>
                  <a:cubicBezTo>
                    <a:pt x="0" y="987"/>
                    <a:pt x="26" y="1013"/>
                    <a:pt x="59" y="1013"/>
                  </a:cubicBezTo>
                  <a:lnTo>
                    <a:pt x="300" y="1013"/>
                  </a:lnTo>
                  <a:cubicBezTo>
                    <a:pt x="332" y="1013"/>
                    <a:pt x="358" y="987"/>
                    <a:pt x="358" y="955"/>
                  </a:cubicBezTo>
                  <a:lnTo>
                    <a:pt x="358" y="58"/>
                  </a:lnTo>
                  <a:cubicBezTo>
                    <a:pt x="358" y="26"/>
                    <a:pt x="332" y="0"/>
                    <a:pt x="3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10">
              <a:extLst>
                <a:ext uri="{FF2B5EF4-FFF2-40B4-BE49-F238E27FC236}">
                  <a16:creationId xmlns:a16="http://schemas.microsoft.com/office/drawing/2014/main" id="{DEB241D6-A69F-48F6-841E-B32F619CB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663" y="-1752600"/>
              <a:ext cx="111125" cy="14288"/>
            </a:xfrm>
            <a:custGeom>
              <a:avLst/>
              <a:gdLst>
                <a:gd name="T0" fmla="*/ 136 w 145"/>
                <a:gd name="T1" fmla="*/ 0 h 19"/>
                <a:gd name="T2" fmla="*/ 9 w 145"/>
                <a:gd name="T3" fmla="*/ 0 h 19"/>
                <a:gd name="T4" fmla="*/ 0 w 145"/>
                <a:gd name="T5" fmla="*/ 10 h 19"/>
                <a:gd name="T6" fmla="*/ 9 w 145"/>
                <a:gd name="T7" fmla="*/ 19 h 19"/>
                <a:gd name="T8" fmla="*/ 136 w 145"/>
                <a:gd name="T9" fmla="*/ 19 h 19"/>
                <a:gd name="T10" fmla="*/ 145 w 145"/>
                <a:gd name="T11" fmla="*/ 10 h 19"/>
                <a:gd name="T12" fmla="*/ 136 w 145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9">
                  <a:moveTo>
                    <a:pt x="136" y="0"/>
                  </a:moveTo>
                  <a:lnTo>
                    <a:pt x="9" y="0"/>
                  </a:ln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lnTo>
                    <a:pt x="136" y="19"/>
                  </a:lnTo>
                  <a:cubicBezTo>
                    <a:pt x="141" y="19"/>
                    <a:pt x="145" y="15"/>
                    <a:pt x="145" y="10"/>
                  </a:cubicBezTo>
                  <a:cubicBezTo>
                    <a:pt x="145" y="4"/>
                    <a:pt x="141" y="0"/>
                    <a:pt x="13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11">
              <a:extLst>
                <a:ext uri="{FF2B5EF4-FFF2-40B4-BE49-F238E27FC236}">
                  <a16:creationId xmlns:a16="http://schemas.microsoft.com/office/drawing/2014/main" id="{66B5C17A-0306-425A-B97A-EAE22F5D6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663" y="-1695450"/>
              <a:ext cx="111125" cy="14288"/>
            </a:xfrm>
            <a:custGeom>
              <a:avLst/>
              <a:gdLst>
                <a:gd name="T0" fmla="*/ 136 w 145"/>
                <a:gd name="T1" fmla="*/ 0 h 19"/>
                <a:gd name="T2" fmla="*/ 9 w 145"/>
                <a:gd name="T3" fmla="*/ 0 h 19"/>
                <a:gd name="T4" fmla="*/ 0 w 145"/>
                <a:gd name="T5" fmla="*/ 10 h 19"/>
                <a:gd name="T6" fmla="*/ 9 w 145"/>
                <a:gd name="T7" fmla="*/ 19 h 19"/>
                <a:gd name="T8" fmla="*/ 136 w 145"/>
                <a:gd name="T9" fmla="*/ 19 h 19"/>
                <a:gd name="T10" fmla="*/ 145 w 145"/>
                <a:gd name="T11" fmla="*/ 10 h 19"/>
                <a:gd name="T12" fmla="*/ 136 w 145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9">
                  <a:moveTo>
                    <a:pt x="136" y="0"/>
                  </a:moveTo>
                  <a:lnTo>
                    <a:pt x="9" y="0"/>
                  </a:ln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lnTo>
                    <a:pt x="136" y="19"/>
                  </a:lnTo>
                  <a:cubicBezTo>
                    <a:pt x="141" y="19"/>
                    <a:pt x="145" y="15"/>
                    <a:pt x="145" y="10"/>
                  </a:cubicBezTo>
                  <a:cubicBezTo>
                    <a:pt x="145" y="4"/>
                    <a:pt x="141" y="0"/>
                    <a:pt x="13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12">
              <a:extLst>
                <a:ext uri="{FF2B5EF4-FFF2-40B4-BE49-F238E27FC236}">
                  <a16:creationId xmlns:a16="http://schemas.microsoft.com/office/drawing/2014/main" id="{4CE3009A-722A-48C5-B1AD-35D046523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663" y="-1638300"/>
              <a:ext cx="111125" cy="14288"/>
            </a:xfrm>
            <a:custGeom>
              <a:avLst/>
              <a:gdLst>
                <a:gd name="T0" fmla="*/ 136 w 145"/>
                <a:gd name="T1" fmla="*/ 0 h 19"/>
                <a:gd name="T2" fmla="*/ 9 w 145"/>
                <a:gd name="T3" fmla="*/ 0 h 19"/>
                <a:gd name="T4" fmla="*/ 0 w 145"/>
                <a:gd name="T5" fmla="*/ 10 h 19"/>
                <a:gd name="T6" fmla="*/ 9 w 145"/>
                <a:gd name="T7" fmla="*/ 19 h 19"/>
                <a:gd name="T8" fmla="*/ 136 w 145"/>
                <a:gd name="T9" fmla="*/ 19 h 19"/>
                <a:gd name="T10" fmla="*/ 145 w 145"/>
                <a:gd name="T11" fmla="*/ 10 h 19"/>
                <a:gd name="T12" fmla="*/ 136 w 145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9">
                  <a:moveTo>
                    <a:pt x="136" y="0"/>
                  </a:moveTo>
                  <a:lnTo>
                    <a:pt x="9" y="0"/>
                  </a:ln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lnTo>
                    <a:pt x="136" y="19"/>
                  </a:lnTo>
                  <a:cubicBezTo>
                    <a:pt x="141" y="19"/>
                    <a:pt x="145" y="15"/>
                    <a:pt x="145" y="10"/>
                  </a:cubicBezTo>
                  <a:cubicBezTo>
                    <a:pt x="145" y="4"/>
                    <a:pt x="141" y="0"/>
                    <a:pt x="13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13">
              <a:extLst>
                <a:ext uri="{FF2B5EF4-FFF2-40B4-BE49-F238E27FC236}">
                  <a16:creationId xmlns:a16="http://schemas.microsoft.com/office/drawing/2014/main" id="{8D5171FC-AC5E-451B-ADB9-E1FE9E2BC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663" y="-1581150"/>
              <a:ext cx="111125" cy="14288"/>
            </a:xfrm>
            <a:custGeom>
              <a:avLst/>
              <a:gdLst>
                <a:gd name="T0" fmla="*/ 136 w 145"/>
                <a:gd name="T1" fmla="*/ 0 h 19"/>
                <a:gd name="T2" fmla="*/ 9 w 145"/>
                <a:gd name="T3" fmla="*/ 0 h 19"/>
                <a:gd name="T4" fmla="*/ 0 w 145"/>
                <a:gd name="T5" fmla="*/ 9 h 19"/>
                <a:gd name="T6" fmla="*/ 9 w 145"/>
                <a:gd name="T7" fmla="*/ 19 h 19"/>
                <a:gd name="T8" fmla="*/ 136 w 145"/>
                <a:gd name="T9" fmla="*/ 19 h 19"/>
                <a:gd name="T10" fmla="*/ 145 w 145"/>
                <a:gd name="T11" fmla="*/ 9 h 19"/>
                <a:gd name="T12" fmla="*/ 136 w 145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9">
                  <a:moveTo>
                    <a:pt x="136" y="0"/>
                  </a:moveTo>
                  <a:lnTo>
                    <a:pt x="9" y="0"/>
                  </a:ln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4" y="19"/>
                    <a:pt x="9" y="19"/>
                  </a:cubicBezTo>
                  <a:lnTo>
                    <a:pt x="136" y="19"/>
                  </a:lnTo>
                  <a:cubicBezTo>
                    <a:pt x="141" y="19"/>
                    <a:pt x="145" y="15"/>
                    <a:pt x="145" y="9"/>
                  </a:cubicBezTo>
                  <a:cubicBezTo>
                    <a:pt x="145" y="4"/>
                    <a:pt x="141" y="0"/>
                    <a:pt x="13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14">
              <a:extLst>
                <a:ext uri="{FF2B5EF4-FFF2-40B4-BE49-F238E27FC236}">
                  <a16:creationId xmlns:a16="http://schemas.microsoft.com/office/drawing/2014/main" id="{BA2C0A01-9AA7-4635-89B0-52782BF57F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3513" y="-1847850"/>
              <a:ext cx="273050" cy="773113"/>
            </a:xfrm>
            <a:custGeom>
              <a:avLst/>
              <a:gdLst>
                <a:gd name="T0" fmla="*/ 302 w 358"/>
                <a:gd name="T1" fmla="*/ 412 h 1013"/>
                <a:gd name="T2" fmla="*/ 281 w 358"/>
                <a:gd name="T3" fmla="*/ 433 h 1013"/>
                <a:gd name="T4" fmla="*/ 77 w 358"/>
                <a:gd name="T5" fmla="*/ 433 h 1013"/>
                <a:gd name="T6" fmla="*/ 56 w 358"/>
                <a:gd name="T7" fmla="*/ 412 h 1013"/>
                <a:gd name="T8" fmla="*/ 56 w 358"/>
                <a:gd name="T9" fmla="*/ 77 h 1013"/>
                <a:gd name="T10" fmla="*/ 77 w 358"/>
                <a:gd name="T11" fmla="*/ 56 h 1013"/>
                <a:gd name="T12" fmla="*/ 281 w 358"/>
                <a:gd name="T13" fmla="*/ 56 h 1013"/>
                <a:gd name="T14" fmla="*/ 302 w 358"/>
                <a:gd name="T15" fmla="*/ 77 h 1013"/>
                <a:gd name="T16" fmla="*/ 302 w 358"/>
                <a:gd name="T17" fmla="*/ 412 h 1013"/>
                <a:gd name="T18" fmla="*/ 179 w 358"/>
                <a:gd name="T19" fmla="*/ 814 h 1013"/>
                <a:gd name="T20" fmla="*/ 59 w 358"/>
                <a:gd name="T21" fmla="*/ 694 h 1013"/>
                <a:gd name="T22" fmla="*/ 179 w 358"/>
                <a:gd name="T23" fmla="*/ 574 h 1013"/>
                <a:gd name="T24" fmla="*/ 299 w 358"/>
                <a:gd name="T25" fmla="*/ 694 h 1013"/>
                <a:gd name="T26" fmla="*/ 179 w 358"/>
                <a:gd name="T27" fmla="*/ 814 h 1013"/>
                <a:gd name="T28" fmla="*/ 179 w 358"/>
                <a:gd name="T29" fmla="*/ 946 h 1013"/>
                <a:gd name="T30" fmla="*/ 133 w 358"/>
                <a:gd name="T31" fmla="*/ 900 h 1013"/>
                <a:gd name="T32" fmla="*/ 179 w 358"/>
                <a:gd name="T33" fmla="*/ 854 h 1013"/>
                <a:gd name="T34" fmla="*/ 224 w 358"/>
                <a:gd name="T35" fmla="*/ 900 h 1013"/>
                <a:gd name="T36" fmla="*/ 179 w 358"/>
                <a:gd name="T37" fmla="*/ 946 h 1013"/>
                <a:gd name="T38" fmla="*/ 299 w 358"/>
                <a:gd name="T39" fmla="*/ 0 h 1013"/>
                <a:gd name="T40" fmla="*/ 58 w 358"/>
                <a:gd name="T41" fmla="*/ 0 h 1013"/>
                <a:gd name="T42" fmla="*/ 0 w 358"/>
                <a:gd name="T43" fmla="*/ 58 h 1013"/>
                <a:gd name="T44" fmla="*/ 0 w 358"/>
                <a:gd name="T45" fmla="*/ 955 h 1013"/>
                <a:gd name="T46" fmla="*/ 58 w 358"/>
                <a:gd name="T47" fmla="*/ 1013 h 1013"/>
                <a:gd name="T48" fmla="*/ 299 w 358"/>
                <a:gd name="T49" fmla="*/ 1013 h 1013"/>
                <a:gd name="T50" fmla="*/ 358 w 358"/>
                <a:gd name="T51" fmla="*/ 955 h 1013"/>
                <a:gd name="T52" fmla="*/ 358 w 358"/>
                <a:gd name="T53" fmla="*/ 58 h 1013"/>
                <a:gd name="T54" fmla="*/ 299 w 358"/>
                <a:gd name="T55" fmla="*/ 0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8" h="1013">
                  <a:moveTo>
                    <a:pt x="302" y="412"/>
                  </a:moveTo>
                  <a:cubicBezTo>
                    <a:pt x="302" y="423"/>
                    <a:pt x="292" y="433"/>
                    <a:pt x="281" y="433"/>
                  </a:cubicBezTo>
                  <a:lnTo>
                    <a:pt x="77" y="433"/>
                  </a:lnTo>
                  <a:cubicBezTo>
                    <a:pt x="65" y="433"/>
                    <a:pt x="56" y="423"/>
                    <a:pt x="56" y="412"/>
                  </a:cubicBezTo>
                  <a:lnTo>
                    <a:pt x="56" y="77"/>
                  </a:lnTo>
                  <a:cubicBezTo>
                    <a:pt x="56" y="65"/>
                    <a:pt x="65" y="56"/>
                    <a:pt x="77" y="56"/>
                  </a:cubicBezTo>
                  <a:lnTo>
                    <a:pt x="281" y="56"/>
                  </a:lnTo>
                  <a:cubicBezTo>
                    <a:pt x="292" y="56"/>
                    <a:pt x="302" y="65"/>
                    <a:pt x="302" y="77"/>
                  </a:cubicBezTo>
                  <a:lnTo>
                    <a:pt x="302" y="412"/>
                  </a:lnTo>
                  <a:close/>
                  <a:moveTo>
                    <a:pt x="179" y="814"/>
                  </a:moveTo>
                  <a:cubicBezTo>
                    <a:pt x="112" y="814"/>
                    <a:pt x="59" y="760"/>
                    <a:pt x="59" y="694"/>
                  </a:cubicBezTo>
                  <a:cubicBezTo>
                    <a:pt x="59" y="627"/>
                    <a:pt x="112" y="574"/>
                    <a:pt x="179" y="574"/>
                  </a:cubicBezTo>
                  <a:cubicBezTo>
                    <a:pt x="245" y="574"/>
                    <a:pt x="299" y="627"/>
                    <a:pt x="299" y="694"/>
                  </a:cubicBezTo>
                  <a:cubicBezTo>
                    <a:pt x="299" y="760"/>
                    <a:pt x="245" y="814"/>
                    <a:pt x="179" y="814"/>
                  </a:cubicBezTo>
                  <a:close/>
                  <a:moveTo>
                    <a:pt x="179" y="946"/>
                  </a:moveTo>
                  <a:cubicBezTo>
                    <a:pt x="154" y="946"/>
                    <a:pt x="133" y="925"/>
                    <a:pt x="133" y="900"/>
                  </a:cubicBezTo>
                  <a:cubicBezTo>
                    <a:pt x="133" y="875"/>
                    <a:pt x="154" y="854"/>
                    <a:pt x="179" y="854"/>
                  </a:cubicBezTo>
                  <a:cubicBezTo>
                    <a:pt x="204" y="854"/>
                    <a:pt x="224" y="875"/>
                    <a:pt x="224" y="900"/>
                  </a:cubicBezTo>
                  <a:cubicBezTo>
                    <a:pt x="224" y="925"/>
                    <a:pt x="204" y="946"/>
                    <a:pt x="179" y="946"/>
                  </a:cubicBezTo>
                  <a:close/>
                  <a:moveTo>
                    <a:pt x="299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lnTo>
                    <a:pt x="0" y="955"/>
                  </a:lnTo>
                  <a:cubicBezTo>
                    <a:pt x="0" y="987"/>
                    <a:pt x="26" y="1013"/>
                    <a:pt x="58" y="1013"/>
                  </a:cubicBezTo>
                  <a:lnTo>
                    <a:pt x="299" y="1013"/>
                  </a:lnTo>
                  <a:cubicBezTo>
                    <a:pt x="332" y="1013"/>
                    <a:pt x="358" y="987"/>
                    <a:pt x="358" y="955"/>
                  </a:cubicBezTo>
                  <a:lnTo>
                    <a:pt x="358" y="58"/>
                  </a:lnTo>
                  <a:cubicBezTo>
                    <a:pt x="358" y="26"/>
                    <a:pt x="332" y="0"/>
                    <a:pt x="29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15">
              <a:extLst>
                <a:ext uri="{FF2B5EF4-FFF2-40B4-BE49-F238E27FC236}">
                  <a16:creationId xmlns:a16="http://schemas.microsoft.com/office/drawing/2014/main" id="{1CDA05ED-6711-4508-9A9F-C20F603F54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063" y="-1752600"/>
              <a:ext cx="109538" cy="14288"/>
            </a:xfrm>
            <a:custGeom>
              <a:avLst/>
              <a:gdLst>
                <a:gd name="T0" fmla="*/ 135 w 145"/>
                <a:gd name="T1" fmla="*/ 0 h 19"/>
                <a:gd name="T2" fmla="*/ 9 w 145"/>
                <a:gd name="T3" fmla="*/ 0 h 19"/>
                <a:gd name="T4" fmla="*/ 0 w 145"/>
                <a:gd name="T5" fmla="*/ 10 h 19"/>
                <a:gd name="T6" fmla="*/ 9 w 145"/>
                <a:gd name="T7" fmla="*/ 19 h 19"/>
                <a:gd name="T8" fmla="*/ 135 w 145"/>
                <a:gd name="T9" fmla="*/ 19 h 19"/>
                <a:gd name="T10" fmla="*/ 145 w 145"/>
                <a:gd name="T11" fmla="*/ 10 h 19"/>
                <a:gd name="T12" fmla="*/ 135 w 145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9">
                  <a:moveTo>
                    <a:pt x="135" y="0"/>
                  </a:moveTo>
                  <a:lnTo>
                    <a:pt x="9" y="0"/>
                  </a:ln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lnTo>
                    <a:pt x="135" y="19"/>
                  </a:lnTo>
                  <a:cubicBezTo>
                    <a:pt x="141" y="19"/>
                    <a:pt x="145" y="15"/>
                    <a:pt x="145" y="10"/>
                  </a:cubicBezTo>
                  <a:cubicBezTo>
                    <a:pt x="145" y="4"/>
                    <a:pt x="141" y="0"/>
                    <a:pt x="13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216">
              <a:extLst>
                <a:ext uri="{FF2B5EF4-FFF2-40B4-BE49-F238E27FC236}">
                  <a16:creationId xmlns:a16="http://schemas.microsoft.com/office/drawing/2014/main" id="{4CEAFB5B-9117-4A51-BAAC-5D91D95F11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063" y="-1695450"/>
              <a:ext cx="109538" cy="14288"/>
            </a:xfrm>
            <a:custGeom>
              <a:avLst/>
              <a:gdLst>
                <a:gd name="T0" fmla="*/ 135 w 145"/>
                <a:gd name="T1" fmla="*/ 0 h 19"/>
                <a:gd name="T2" fmla="*/ 9 w 145"/>
                <a:gd name="T3" fmla="*/ 0 h 19"/>
                <a:gd name="T4" fmla="*/ 0 w 145"/>
                <a:gd name="T5" fmla="*/ 10 h 19"/>
                <a:gd name="T6" fmla="*/ 9 w 145"/>
                <a:gd name="T7" fmla="*/ 19 h 19"/>
                <a:gd name="T8" fmla="*/ 135 w 145"/>
                <a:gd name="T9" fmla="*/ 19 h 19"/>
                <a:gd name="T10" fmla="*/ 145 w 145"/>
                <a:gd name="T11" fmla="*/ 10 h 19"/>
                <a:gd name="T12" fmla="*/ 135 w 145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9">
                  <a:moveTo>
                    <a:pt x="135" y="0"/>
                  </a:moveTo>
                  <a:lnTo>
                    <a:pt x="9" y="0"/>
                  </a:ln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lnTo>
                    <a:pt x="135" y="19"/>
                  </a:lnTo>
                  <a:cubicBezTo>
                    <a:pt x="141" y="19"/>
                    <a:pt x="145" y="15"/>
                    <a:pt x="145" y="10"/>
                  </a:cubicBezTo>
                  <a:cubicBezTo>
                    <a:pt x="145" y="4"/>
                    <a:pt x="141" y="0"/>
                    <a:pt x="13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17">
              <a:extLst>
                <a:ext uri="{FF2B5EF4-FFF2-40B4-BE49-F238E27FC236}">
                  <a16:creationId xmlns:a16="http://schemas.microsoft.com/office/drawing/2014/main" id="{B837B635-EF85-4351-9CA8-741EFD31A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063" y="-1638300"/>
              <a:ext cx="109538" cy="14288"/>
            </a:xfrm>
            <a:custGeom>
              <a:avLst/>
              <a:gdLst>
                <a:gd name="T0" fmla="*/ 135 w 145"/>
                <a:gd name="T1" fmla="*/ 0 h 19"/>
                <a:gd name="T2" fmla="*/ 9 w 145"/>
                <a:gd name="T3" fmla="*/ 0 h 19"/>
                <a:gd name="T4" fmla="*/ 0 w 145"/>
                <a:gd name="T5" fmla="*/ 10 h 19"/>
                <a:gd name="T6" fmla="*/ 9 w 145"/>
                <a:gd name="T7" fmla="*/ 19 h 19"/>
                <a:gd name="T8" fmla="*/ 135 w 145"/>
                <a:gd name="T9" fmla="*/ 19 h 19"/>
                <a:gd name="T10" fmla="*/ 145 w 145"/>
                <a:gd name="T11" fmla="*/ 10 h 19"/>
                <a:gd name="T12" fmla="*/ 135 w 145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9">
                  <a:moveTo>
                    <a:pt x="135" y="0"/>
                  </a:moveTo>
                  <a:lnTo>
                    <a:pt x="9" y="0"/>
                  </a:ln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lnTo>
                    <a:pt x="135" y="19"/>
                  </a:lnTo>
                  <a:cubicBezTo>
                    <a:pt x="141" y="19"/>
                    <a:pt x="145" y="15"/>
                    <a:pt x="145" y="10"/>
                  </a:cubicBezTo>
                  <a:cubicBezTo>
                    <a:pt x="145" y="4"/>
                    <a:pt x="141" y="0"/>
                    <a:pt x="13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218">
              <a:extLst>
                <a:ext uri="{FF2B5EF4-FFF2-40B4-BE49-F238E27FC236}">
                  <a16:creationId xmlns:a16="http://schemas.microsoft.com/office/drawing/2014/main" id="{52A25384-CA1B-4EC5-99D8-79B884EE8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063" y="-1581150"/>
              <a:ext cx="109538" cy="14288"/>
            </a:xfrm>
            <a:custGeom>
              <a:avLst/>
              <a:gdLst>
                <a:gd name="T0" fmla="*/ 135 w 145"/>
                <a:gd name="T1" fmla="*/ 0 h 19"/>
                <a:gd name="T2" fmla="*/ 9 w 145"/>
                <a:gd name="T3" fmla="*/ 0 h 19"/>
                <a:gd name="T4" fmla="*/ 0 w 145"/>
                <a:gd name="T5" fmla="*/ 9 h 19"/>
                <a:gd name="T6" fmla="*/ 9 w 145"/>
                <a:gd name="T7" fmla="*/ 19 h 19"/>
                <a:gd name="T8" fmla="*/ 135 w 145"/>
                <a:gd name="T9" fmla="*/ 19 h 19"/>
                <a:gd name="T10" fmla="*/ 145 w 145"/>
                <a:gd name="T11" fmla="*/ 9 h 19"/>
                <a:gd name="T12" fmla="*/ 135 w 145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19">
                  <a:moveTo>
                    <a:pt x="135" y="0"/>
                  </a:moveTo>
                  <a:lnTo>
                    <a:pt x="9" y="0"/>
                  </a:ln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4" y="19"/>
                    <a:pt x="9" y="19"/>
                  </a:cubicBezTo>
                  <a:lnTo>
                    <a:pt x="135" y="19"/>
                  </a:lnTo>
                  <a:cubicBezTo>
                    <a:pt x="141" y="19"/>
                    <a:pt x="145" y="15"/>
                    <a:pt x="145" y="9"/>
                  </a:cubicBezTo>
                  <a:cubicBezTo>
                    <a:pt x="145" y="4"/>
                    <a:pt x="141" y="0"/>
                    <a:pt x="13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219">
              <a:extLst>
                <a:ext uri="{FF2B5EF4-FFF2-40B4-BE49-F238E27FC236}">
                  <a16:creationId xmlns:a16="http://schemas.microsoft.com/office/drawing/2014/main" id="{57B3603F-F590-4E4E-98B0-C0FC8EACFC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538" y="-1878012"/>
              <a:ext cx="519113" cy="804863"/>
            </a:xfrm>
            <a:custGeom>
              <a:avLst/>
              <a:gdLst>
                <a:gd name="T0" fmla="*/ 613 w 683"/>
                <a:gd name="T1" fmla="*/ 172 h 1056"/>
                <a:gd name="T2" fmla="*/ 491 w 683"/>
                <a:gd name="T3" fmla="*/ 484 h 1056"/>
                <a:gd name="T4" fmla="*/ 463 w 683"/>
                <a:gd name="T5" fmla="*/ 496 h 1056"/>
                <a:gd name="T6" fmla="*/ 274 w 683"/>
                <a:gd name="T7" fmla="*/ 422 h 1056"/>
                <a:gd name="T8" fmla="*/ 262 w 683"/>
                <a:gd name="T9" fmla="*/ 395 h 1056"/>
                <a:gd name="T10" fmla="*/ 384 w 683"/>
                <a:gd name="T11" fmla="*/ 83 h 1056"/>
                <a:gd name="T12" fmla="*/ 411 w 683"/>
                <a:gd name="T13" fmla="*/ 71 h 1056"/>
                <a:gd name="T14" fmla="*/ 600 w 683"/>
                <a:gd name="T15" fmla="*/ 145 h 1056"/>
                <a:gd name="T16" fmla="*/ 613 w 683"/>
                <a:gd name="T17" fmla="*/ 172 h 1056"/>
                <a:gd name="T18" fmla="*/ 386 w 683"/>
                <a:gd name="T19" fmla="*/ 746 h 1056"/>
                <a:gd name="T20" fmla="*/ 230 w 683"/>
                <a:gd name="T21" fmla="*/ 814 h 1056"/>
                <a:gd name="T22" fmla="*/ 162 w 683"/>
                <a:gd name="T23" fmla="*/ 659 h 1056"/>
                <a:gd name="T24" fmla="*/ 317 w 683"/>
                <a:gd name="T25" fmla="*/ 590 h 1056"/>
                <a:gd name="T26" fmla="*/ 386 w 683"/>
                <a:gd name="T27" fmla="*/ 746 h 1056"/>
                <a:gd name="T28" fmla="*/ 241 w 683"/>
                <a:gd name="T29" fmla="*/ 911 h 1056"/>
                <a:gd name="T30" fmla="*/ 182 w 683"/>
                <a:gd name="T31" fmla="*/ 937 h 1056"/>
                <a:gd name="T32" fmla="*/ 156 w 683"/>
                <a:gd name="T33" fmla="*/ 878 h 1056"/>
                <a:gd name="T34" fmla="*/ 215 w 683"/>
                <a:gd name="T35" fmla="*/ 852 h 1056"/>
                <a:gd name="T36" fmla="*/ 241 w 683"/>
                <a:gd name="T37" fmla="*/ 911 h 1056"/>
                <a:gd name="T38" fmla="*/ 638 w 683"/>
                <a:gd name="T39" fmla="*/ 99 h 1056"/>
                <a:gd name="T40" fmla="*/ 414 w 683"/>
                <a:gd name="T41" fmla="*/ 12 h 1056"/>
                <a:gd name="T42" fmla="*/ 338 w 683"/>
                <a:gd name="T43" fmla="*/ 45 h 1056"/>
                <a:gd name="T44" fmla="*/ 12 w 683"/>
                <a:gd name="T45" fmla="*/ 880 h 1056"/>
                <a:gd name="T46" fmla="*/ 45 w 683"/>
                <a:gd name="T47" fmla="*/ 956 h 1056"/>
                <a:gd name="T48" fmla="*/ 270 w 683"/>
                <a:gd name="T49" fmla="*/ 1044 h 1056"/>
                <a:gd name="T50" fmla="*/ 346 w 683"/>
                <a:gd name="T51" fmla="*/ 1011 h 1056"/>
                <a:gd name="T52" fmla="*/ 672 w 683"/>
                <a:gd name="T53" fmla="*/ 175 h 1056"/>
                <a:gd name="T54" fmla="*/ 638 w 683"/>
                <a:gd name="T55" fmla="*/ 99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83" h="1056">
                  <a:moveTo>
                    <a:pt x="613" y="172"/>
                  </a:moveTo>
                  <a:lnTo>
                    <a:pt x="491" y="484"/>
                  </a:lnTo>
                  <a:cubicBezTo>
                    <a:pt x="487" y="495"/>
                    <a:pt x="474" y="500"/>
                    <a:pt x="463" y="496"/>
                  </a:cubicBezTo>
                  <a:lnTo>
                    <a:pt x="274" y="422"/>
                  </a:lnTo>
                  <a:cubicBezTo>
                    <a:pt x="263" y="418"/>
                    <a:pt x="258" y="406"/>
                    <a:pt x="262" y="395"/>
                  </a:cubicBezTo>
                  <a:lnTo>
                    <a:pt x="384" y="83"/>
                  </a:lnTo>
                  <a:cubicBezTo>
                    <a:pt x="388" y="72"/>
                    <a:pt x="400" y="67"/>
                    <a:pt x="411" y="71"/>
                  </a:cubicBezTo>
                  <a:lnTo>
                    <a:pt x="600" y="145"/>
                  </a:lnTo>
                  <a:cubicBezTo>
                    <a:pt x="611" y="149"/>
                    <a:pt x="617" y="162"/>
                    <a:pt x="613" y="172"/>
                  </a:cubicBezTo>
                  <a:close/>
                  <a:moveTo>
                    <a:pt x="386" y="746"/>
                  </a:moveTo>
                  <a:cubicBezTo>
                    <a:pt x="362" y="808"/>
                    <a:pt x="292" y="838"/>
                    <a:pt x="230" y="814"/>
                  </a:cubicBezTo>
                  <a:cubicBezTo>
                    <a:pt x="168" y="790"/>
                    <a:pt x="138" y="721"/>
                    <a:pt x="162" y="659"/>
                  </a:cubicBezTo>
                  <a:cubicBezTo>
                    <a:pt x="186" y="597"/>
                    <a:pt x="256" y="566"/>
                    <a:pt x="317" y="590"/>
                  </a:cubicBezTo>
                  <a:cubicBezTo>
                    <a:pt x="379" y="615"/>
                    <a:pt x="410" y="684"/>
                    <a:pt x="386" y="746"/>
                  </a:cubicBezTo>
                  <a:close/>
                  <a:moveTo>
                    <a:pt x="241" y="911"/>
                  </a:moveTo>
                  <a:cubicBezTo>
                    <a:pt x="232" y="934"/>
                    <a:pt x="206" y="946"/>
                    <a:pt x="182" y="937"/>
                  </a:cubicBezTo>
                  <a:cubicBezTo>
                    <a:pt x="159" y="928"/>
                    <a:pt x="147" y="901"/>
                    <a:pt x="156" y="878"/>
                  </a:cubicBezTo>
                  <a:cubicBezTo>
                    <a:pt x="166" y="854"/>
                    <a:pt x="192" y="843"/>
                    <a:pt x="215" y="852"/>
                  </a:cubicBezTo>
                  <a:cubicBezTo>
                    <a:pt x="239" y="861"/>
                    <a:pt x="251" y="887"/>
                    <a:pt x="241" y="911"/>
                  </a:cubicBezTo>
                  <a:close/>
                  <a:moveTo>
                    <a:pt x="638" y="99"/>
                  </a:moveTo>
                  <a:cubicBezTo>
                    <a:pt x="582" y="78"/>
                    <a:pt x="470" y="34"/>
                    <a:pt x="414" y="12"/>
                  </a:cubicBezTo>
                  <a:cubicBezTo>
                    <a:pt x="384" y="0"/>
                    <a:pt x="350" y="15"/>
                    <a:pt x="338" y="45"/>
                  </a:cubicBezTo>
                  <a:cubicBezTo>
                    <a:pt x="316" y="101"/>
                    <a:pt x="34" y="824"/>
                    <a:pt x="12" y="880"/>
                  </a:cubicBezTo>
                  <a:cubicBezTo>
                    <a:pt x="0" y="911"/>
                    <a:pt x="15" y="944"/>
                    <a:pt x="45" y="956"/>
                  </a:cubicBezTo>
                  <a:cubicBezTo>
                    <a:pt x="101" y="978"/>
                    <a:pt x="214" y="1022"/>
                    <a:pt x="270" y="1044"/>
                  </a:cubicBezTo>
                  <a:cubicBezTo>
                    <a:pt x="300" y="1056"/>
                    <a:pt x="334" y="1041"/>
                    <a:pt x="346" y="1011"/>
                  </a:cubicBezTo>
                  <a:cubicBezTo>
                    <a:pt x="368" y="954"/>
                    <a:pt x="650" y="231"/>
                    <a:pt x="672" y="175"/>
                  </a:cubicBezTo>
                  <a:cubicBezTo>
                    <a:pt x="683" y="145"/>
                    <a:pt x="669" y="111"/>
                    <a:pt x="638" y="9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220">
              <a:extLst>
                <a:ext uri="{FF2B5EF4-FFF2-40B4-BE49-F238E27FC236}">
                  <a16:creationId xmlns:a16="http://schemas.microsoft.com/office/drawing/2014/main" id="{9BEB4F05-39DE-4A5B-862F-25DC1682E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1100" y="-1765300"/>
              <a:ext cx="106363" cy="50800"/>
            </a:xfrm>
            <a:custGeom>
              <a:avLst/>
              <a:gdLst>
                <a:gd name="T0" fmla="*/ 132 w 139"/>
                <a:gd name="T1" fmla="*/ 48 h 67"/>
                <a:gd name="T2" fmla="*/ 14 w 139"/>
                <a:gd name="T3" fmla="*/ 2 h 67"/>
                <a:gd name="T4" fmla="*/ 2 w 139"/>
                <a:gd name="T5" fmla="*/ 7 h 67"/>
                <a:gd name="T6" fmla="*/ 7 w 139"/>
                <a:gd name="T7" fmla="*/ 19 h 67"/>
                <a:gd name="T8" fmla="*/ 125 w 139"/>
                <a:gd name="T9" fmla="*/ 65 h 67"/>
                <a:gd name="T10" fmla="*/ 137 w 139"/>
                <a:gd name="T11" fmla="*/ 60 h 67"/>
                <a:gd name="T12" fmla="*/ 132 w 139"/>
                <a:gd name="T13" fmla="*/ 4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67">
                  <a:moveTo>
                    <a:pt x="132" y="48"/>
                  </a:moveTo>
                  <a:lnTo>
                    <a:pt x="14" y="2"/>
                  </a:lnTo>
                  <a:cubicBezTo>
                    <a:pt x="9" y="0"/>
                    <a:pt x="4" y="2"/>
                    <a:pt x="2" y="7"/>
                  </a:cubicBezTo>
                  <a:cubicBezTo>
                    <a:pt x="0" y="12"/>
                    <a:pt x="2" y="17"/>
                    <a:pt x="7" y="19"/>
                  </a:cubicBezTo>
                  <a:lnTo>
                    <a:pt x="125" y="65"/>
                  </a:lnTo>
                  <a:cubicBezTo>
                    <a:pt x="130" y="67"/>
                    <a:pt x="135" y="65"/>
                    <a:pt x="137" y="60"/>
                  </a:cubicBezTo>
                  <a:cubicBezTo>
                    <a:pt x="139" y="55"/>
                    <a:pt x="137" y="50"/>
                    <a:pt x="132" y="4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221">
              <a:extLst>
                <a:ext uri="{FF2B5EF4-FFF2-40B4-BE49-F238E27FC236}">
                  <a16:creationId xmlns:a16="http://schemas.microsoft.com/office/drawing/2014/main" id="{C1D980DA-E038-4FD1-A994-95C5D0A82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0463" y="-1711325"/>
              <a:ext cx="106363" cy="50800"/>
            </a:xfrm>
            <a:custGeom>
              <a:avLst/>
              <a:gdLst>
                <a:gd name="T0" fmla="*/ 131 w 139"/>
                <a:gd name="T1" fmla="*/ 48 h 67"/>
                <a:gd name="T2" fmla="*/ 14 w 139"/>
                <a:gd name="T3" fmla="*/ 2 h 67"/>
                <a:gd name="T4" fmla="*/ 1 w 139"/>
                <a:gd name="T5" fmla="*/ 7 h 67"/>
                <a:gd name="T6" fmla="*/ 7 w 139"/>
                <a:gd name="T7" fmla="*/ 19 h 67"/>
                <a:gd name="T8" fmla="*/ 125 w 139"/>
                <a:gd name="T9" fmla="*/ 65 h 67"/>
                <a:gd name="T10" fmla="*/ 137 w 139"/>
                <a:gd name="T11" fmla="*/ 60 h 67"/>
                <a:gd name="T12" fmla="*/ 131 w 139"/>
                <a:gd name="T13" fmla="*/ 4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67">
                  <a:moveTo>
                    <a:pt x="131" y="48"/>
                  </a:moveTo>
                  <a:lnTo>
                    <a:pt x="14" y="2"/>
                  </a:lnTo>
                  <a:cubicBezTo>
                    <a:pt x="9" y="0"/>
                    <a:pt x="3" y="2"/>
                    <a:pt x="1" y="7"/>
                  </a:cubicBezTo>
                  <a:cubicBezTo>
                    <a:pt x="0" y="12"/>
                    <a:pt x="2" y="17"/>
                    <a:pt x="7" y="19"/>
                  </a:cubicBezTo>
                  <a:lnTo>
                    <a:pt x="125" y="65"/>
                  </a:lnTo>
                  <a:cubicBezTo>
                    <a:pt x="129" y="67"/>
                    <a:pt x="135" y="65"/>
                    <a:pt x="137" y="60"/>
                  </a:cubicBezTo>
                  <a:cubicBezTo>
                    <a:pt x="139" y="55"/>
                    <a:pt x="136" y="49"/>
                    <a:pt x="131" y="4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222">
              <a:extLst>
                <a:ext uri="{FF2B5EF4-FFF2-40B4-BE49-F238E27FC236}">
                  <a16:creationId xmlns:a16="http://schemas.microsoft.com/office/drawing/2014/main" id="{D74D211C-14DA-496D-BB39-C4F2DB2D8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825" y="-1658937"/>
              <a:ext cx="106363" cy="50800"/>
            </a:xfrm>
            <a:custGeom>
              <a:avLst/>
              <a:gdLst>
                <a:gd name="T0" fmla="*/ 132 w 139"/>
                <a:gd name="T1" fmla="*/ 47 h 67"/>
                <a:gd name="T2" fmla="*/ 14 w 139"/>
                <a:gd name="T3" fmla="*/ 1 h 67"/>
                <a:gd name="T4" fmla="*/ 2 w 139"/>
                <a:gd name="T5" fmla="*/ 7 h 67"/>
                <a:gd name="T6" fmla="*/ 8 w 139"/>
                <a:gd name="T7" fmla="*/ 19 h 67"/>
                <a:gd name="T8" fmla="*/ 125 w 139"/>
                <a:gd name="T9" fmla="*/ 65 h 67"/>
                <a:gd name="T10" fmla="*/ 137 w 139"/>
                <a:gd name="T11" fmla="*/ 60 h 67"/>
                <a:gd name="T12" fmla="*/ 132 w 139"/>
                <a:gd name="T13" fmla="*/ 4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67">
                  <a:moveTo>
                    <a:pt x="132" y="47"/>
                  </a:moveTo>
                  <a:lnTo>
                    <a:pt x="14" y="1"/>
                  </a:lnTo>
                  <a:cubicBezTo>
                    <a:pt x="10" y="0"/>
                    <a:pt x="4" y="2"/>
                    <a:pt x="2" y="7"/>
                  </a:cubicBezTo>
                  <a:cubicBezTo>
                    <a:pt x="0" y="12"/>
                    <a:pt x="3" y="17"/>
                    <a:pt x="8" y="19"/>
                  </a:cubicBezTo>
                  <a:lnTo>
                    <a:pt x="125" y="65"/>
                  </a:lnTo>
                  <a:cubicBezTo>
                    <a:pt x="130" y="67"/>
                    <a:pt x="136" y="64"/>
                    <a:pt x="137" y="60"/>
                  </a:cubicBezTo>
                  <a:cubicBezTo>
                    <a:pt x="139" y="55"/>
                    <a:pt x="137" y="49"/>
                    <a:pt x="132" y="4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223">
              <a:extLst>
                <a:ext uri="{FF2B5EF4-FFF2-40B4-BE49-F238E27FC236}">
                  <a16:creationId xmlns:a16="http://schemas.microsoft.com/office/drawing/2014/main" id="{D9D2A2F2-D966-4F17-A407-C0BADB20AE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-1606550"/>
              <a:ext cx="106363" cy="52388"/>
            </a:xfrm>
            <a:custGeom>
              <a:avLst/>
              <a:gdLst>
                <a:gd name="T0" fmla="*/ 132 w 139"/>
                <a:gd name="T1" fmla="*/ 48 h 68"/>
                <a:gd name="T2" fmla="*/ 14 w 139"/>
                <a:gd name="T3" fmla="*/ 2 h 68"/>
                <a:gd name="T4" fmla="*/ 2 w 139"/>
                <a:gd name="T5" fmla="*/ 8 h 68"/>
                <a:gd name="T6" fmla="*/ 7 w 139"/>
                <a:gd name="T7" fmla="*/ 20 h 68"/>
                <a:gd name="T8" fmla="*/ 125 w 139"/>
                <a:gd name="T9" fmla="*/ 66 h 68"/>
                <a:gd name="T10" fmla="*/ 137 w 139"/>
                <a:gd name="T11" fmla="*/ 60 h 68"/>
                <a:gd name="T12" fmla="*/ 132 w 139"/>
                <a:gd name="T13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68">
                  <a:moveTo>
                    <a:pt x="132" y="48"/>
                  </a:moveTo>
                  <a:lnTo>
                    <a:pt x="14" y="2"/>
                  </a:lnTo>
                  <a:cubicBezTo>
                    <a:pt x="9" y="0"/>
                    <a:pt x="4" y="3"/>
                    <a:pt x="2" y="8"/>
                  </a:cubicBezTo>
                  <a:cubicBezTo>
                    <a:pt x="0" y="12"/>
                    <a:pt x="3" y="18"/>
                    <a:pt x="7" y="20"/>
                  </a:cubicBezTo>
                  <a:lnTo>
                    <a:pt x="125" y="66"/>
                  </a:lnTo>
                  <a:cubicBezTo>
                    <a:pt x="130" y="68"/>
                    <a:pt x="135" y="65"/>
                    <a:pt x="137" y="60"/>
                  </a:cubicBezTo>
                  <a:cubicBezTo>
                    <a:pt x="139" y="56"/>
                    <a:pt x="137" y="50"/>
                    <a:pt x="132" y="4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7" name="Video_Games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CCFC4B0-2122-4B11-984B-21A340A16CE0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2469320" y="2567045"/>
            <a:ext cx="702178" cy="542925"/>
            <a:chOff x="2922" y="2234"/>
            <a:chExt cx="1918" cy="1483"/>
          </a:xfrm>
          <a:solidFill>
            <a:schemeClr val="accent1"/>
          </a:solidFill>
        </p:grpSpPr>
        <p:sp>
          <p:nvSpPr>
            <p:cNvPr id="48" name="Freeform 222">
              <a:extLst>
                <a:ext uri="{FF2B5EF4-FFF2-40B4-BE49-F238E27FC236}">
                  <a16:creationId xmlns:a16="http://schemas.microsoft.com/office/drawing/2014/main" id="{EA4FB42F-C2D1-4AC3-B300-1CCCB2AEF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1" y="2932"/>
              <a:ext cx="97" cy="96"/>
            </a:xfrm>
            <a:custGeom>
              <a:avLst/>
              <a:gdLst>
                <a:gd name="T0" fmla="*/ 241 w 241"/>
                <a:gd name="T1" fmla="*/ 237 h 237"/>
                <a:gd name="T2" fmla="*/ 0 w 241"/>
                <a:gd name="T3" fmla="*/ 0 h 237"/>
                <a:gd name="T4" fmla="*/ 0 w 241"/>
                <a:gd name="T5" fmla="*/ 237 h 237"/>
                <a:gd name="T6" fmla="*/ 241 w 241"/>
                <a:gd name="T7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237">
                  <a:moveTo>
                    <a:pt x="241" y="237"/>
                  </a:moveTo>
                  <a:cubicBezTo>
                    <a:pt x="209" y="122"/>
                    <a:pt x="117" y="31"/>
                    <a:pt x="0" y="0"/>
                  </a:cubicBezTo>
                  <a:lnTo>
                    <a:pt x="0" y="237"/>
                  </a:lnTo>
                  <a:lnTo>
                    <a:pt x="241" y="23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23">
              <a:extLst>
                <a:ext uri="{FF2B5EF4-FFF2-40B4-BE49-F238E27FC236}">
                  <a16:creationId xmlns:a16="http://schemas.microsoft.com/office/drawing/2014/main" id="{55ADCE61-CB8D-4A45-BC7C-CCBB9B1AA2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2" y="2234"/>
              <a:ext cx="1918" cy="1483"/>
            </a:xfrm>
            <a:custGeom>
              <a:avLst/>
              <a:gdLst>
                <a:gd name="T0" fmla="*/ 4552 w 4747"/>
                <a:gd name="T1" fmla="*/ 1524 h 3666"/>
                <a:gd name="T2" fmla="*/ 3527 w 4747"/>
                <a:gd name="T3" fmla="*/ 18 h 3666"/>
                <a:gd name="T4" fmla="*/ 2481 w 4747"/>
                <a:gd name="T5" fmla="*/ 395 h 3666"/>
                <a:gd name="T6" fmla="*/ 2298 w 4747"/>
                <a:gd name="T7" fmla="*/ 395 h 3666"/>
                <a:gd name="T8" fmla="*/ 1252 w 4747"/>
                <a:gd name="T9" fmla="*/ 18 h 3666"/>
                <a:gd name="T10" fmla="*/ 226 w 4747"/>
                <a:gd name="T11" fmla="*/ 1524 h 3666"/>
                <a:gd name="T12" fmla="*/ 830 w 4747"/>
                <a:gd name="T13" fmla="*/ 3346 h 3666"/>
                <a:gd name="T14" fmla="*/ 2097 w 4747"/>
                <a:gd name="T15" fmla="*/ 2671 h 3666"/>
                <a:gd name="T16" fmla="*/ 2682 w 4747"/>
                <a:gd name="T17" fmla="*/ 2671 h 3666"/>
                <a:gd name="T18" fmla="*/ 3949 w 4747"/>
                <a:gd name="T19" fmla="*/ 3346 h 3666"/>
                <a:gd name="T20" fmla="*/ 4552 w 4747"/>
                <a:gd name="T21" fmla="*/ 1524 h 3666"/>
                <a:gd name="T22" fmla="*/ 823 w 4747"/>
                <a:gd name="T23" fmla="*/ 1223 h 3666"/>
                <a:gd name="T24" fmla="*/ 1152 w 4747"/>
                <a:gd name="T25" fmla="*/ 899 h 3666"/>
                <a:gd name="T26" fmla="*/ 1480 w 4747"/>
                <a:gd name="T27" fmla="*/ 1223 h 3666"/>
                <a:gd name="T28" fmla="*/ 1152 w 4747"/>
                <a:gd name="T29" fmla="*/ 1546 h 3666"/>
                <a:gd name="T30" fmla="*/ 823 w 4747"/>
                <a:gd name="T31" fmla="*/ 1223 h 3666"/>
                <a:gd name="T32" fmla="*/ 2088 w 4747"/>
                <a:gd name="T33" fmla="*/ 2128 h 3666"/>
                <a:gd name="T34" fmla="*/ 2084 w 4747"/>
                <a:gd name="T35" fmla="*/ 2143 h 3666"/>
                <a:gd name="T36" fmla="*/ 1828 w 4747"/>
                <a:gd name="T37" fmla="*/ 2394 h 3666"/>
                <a:gd name="T38" fmla="*/ 1805 w 4747"/>
                <a:gd name="T39" fmla="*/ 2399 h 3666"/>
                <a:gd name="T40" fmla="*/ 1737 w 4747"/>
                <a:gd name="T41" fmla="*/ 2406 h 3666"/>
                <a:gd name="T42" fmla="*/ 1669 w 4747"/>
                <a:gd name="T43" fmla="*/ 2399 h 3666"/>
                <a:gd name="T44" fmla="*/ 1644 w 4747"/>
                <a:gd name="T45" fmla="*/ 2394 h 3666"/>
                <a:gd name="T46" fmla="*/ 1390 w 4747"/>
                <a:gd name="T47" fmla="*/ 2143 h 3666"/>
                <a:gd name="T48" fmla="*/ 1384 w 4747"/>
                <a:gd name="T49" fmla="*/ 2116 h 3666"/>
                <a:gd name="T50" fmla="*/ 1377 w 4747"/>
                <a:gd name="T51" fmla="*/ 2052 h 3666"/>
                <a:gd name="T52" fmla="*/ 1384 w 4747"/>
                <a:gd name="T53" fmla="*/ 1988 h 3666"/>
                <a:gd name="T54" fmla="*/ 1390 w 4747"/>
                <a:gd name="T55" fmla="*/ 1962 h 3666"/>
                <a:gd name="T56" fmla="*/ 1644 w 4747"/>
                <a:gd name="T57" fmla="*/ 1710 h 3666"/>
                <a:gd name="T58" fmla="*/ 1662 w 4747"/>
                <a:gd name="T59" fmla="*/ 1706 h 3666"/>
                <a:gd name="T60" fmla="*/ 1737 w 4747"/>
                <a:gd name="T61" fmla="*/ 1698 h 3666"/>
                <a:gd name="T62" fmla="*/ 1813 w 4747"/>
                <a:gd name="T63" fmla="*/ 1706 h 3666"/>
                <a:gd name="T64" fmla="*/ 1828 w 4747"/>
                <a:gd name="T65" fmla="*/ 1709 h 3666"/>
                <a:gd name="T66" fmla="*/ 2085 w 4747"/>
                <a:gd name="T67" fmla="*/ 1962 h 3666"/>
                <a:gd name="T68" fmla="*/ 2088 w 4747"/>
                <a:gd name="T69" fmla="*/ 1975 h 3666"/>
                <a:gd name="T70" fmla="*/ 2097 w 4747"/>
                <a:gd name="T71" fmla="*/ 2052 h 3666"/>
                <a:gd name="T72" fmla="*/ 2088 w 4747"/>
                <a:gd name="T73" fmla="*/ 2128 h 3666"/>
                <a:gd name="T74" fmla="*/ 3590 w 4747"/>
                <a:gd name="T75" fmla="*/ 957 h 3666"/>
                <a:gd name="T76" fmla="*/ 3719 w 4747"/>
                <a:gd name="T77" fmla="*/ 1085 h 3666"/>
                <a:gd name="T78" fmla="*/ 3590 w 4747"/>
                <a:gd name="T79" fmla="*/ 1212 h 3666"/>
                <a:gd name="T80" fmla="*/ 3461 w 4747"/>
                <a:gd name="T81" fmla="*/ 1085 h 3666"/>
                <a:gd name="T82" fmla="*/ 3590 w 4747"/>
                <a:gd name="T83" fmla="*/ 957 h 3666"/>
                <a:gd name="T84" fmla="*/ 3047 w 4747"/>
                <a:gd name="T85" fmla="*/ 2352 h 3666"/>
                <a:gd name="T86" fmla="*/ 2718 w 4747"/>
                <a:gd name="T87" fmla="*/ 2029 h 3666"/>
                <a:gd name="T88" fmla="*/ 3047 w 4747"/>
                <a:gd name="T89" fmla="*/ 1705 h 3666"/>
                <a:gd name="T90" fmla="*/ 3375 w 4747"/>
                <a:gd name="T91" fmla="*/ 2029 h 3666"/>
                <a:gd name="T92" fmla="*/ 3047 w 4747"/>
                <a:gd name="T93" fmla="*/ 2352 h 3666"/>
                <a:gd name="T94" fmla="*/ 3332 w 4747"/>
                <a:gd name="T95" fmla="*/ 1466 h 3666"/>
                <a:gd name="T96" fmla="*/ 3203 w 4747"/>
                <a:gd name="T97" fmla="*/ 1339 h 3666"/>
                <a:gd name="T98" fmla="*/ 3332 w 4747"/>
                <a:gd name="T99" fmla="*/ 1212 h 3666"/>
                <a:gd name="T100" fmla="*/ 3461 w 4747"/>
                <a:gd name="T101" fmla="*/ 1339 h 3666"/>
                <a:gd name="T102" fmla="*/ 3332 w 4747"/>
                <a:gd name="T103" fmla="*/ 1466 h 3666"/>
                <a:gd name="T104" fmla="*/ 3590 w 4747"/>
                <a:gd name="T105" fmla="*/ 1721 h 3666"/>
                <a:gd name="T106" fmla="*/ 3461 w 4747"/>
                <a:gd name="T107" fmla="*/ 1593 h 3666"/>
                <a:gd name="T108" fmla="*/ 3590 w 4747"/>
                <a:gd name="T109" fmla="*/ 1466 h 3666"/>
                <a:gd name="T110" fmla="*/ 3719 w 4747"/>
                <a:gd name="T111" fmla="*/ 1593 h 3666"/>
                <a:gd name="T112" fmla="*/ 3590 w 4747"/>
                <a:gd name="T113" fmla="*/ 1721 h 3666"/>
                <a:gd name="T114" fmla="*/ 3848 w 4747"/>
                <a:gd name="T115" fmla="*/ 1466 h 3666"/>
                <a:gd name="T116" fmla="*/ 3719 w 4747"/>
                <a:gd name="T117" fmla="*/ 1339 h 3666"/>
                <a:gd name="T118" fmla="*/ 3848 w 4747"/>
                <a:gd name="T119" fmla="*/ 1212 h 3666"/>
                <a:gd name="T120" fmla="*/ 3978 w 4747"/>
                <a:gd name="T121" fmla="*/ 1339 h 3666"/>
                <a:gd name="T122" fmla="*/ 3848 w 4747"/>
                <a:gd name="T123" fmla="*/ 1466 h 3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47" h="3666">
                  <a:moveTo>
                    <a:pt x="4552" y="1524"/>
                  </a:moveTo>
                  <a:cubicBezTo>
                    <a:pt x="4442" y="947"/>
                    <a:pt x="4183" y="0"/>
                    <a:pt x="3527" y="18"/>
                  </a:cubicBezTo>
                  <a:cubicBezTo>
                    <a:pt x="3102" y="30"/>
                    <a:pt x="3198" y="465"/>
                    <a:pt x="2481" y="395"/>
                  </a:cubicBezTo>
                  <a:cubicBezTo>
                    <a:pt x="2471" y="410"/>
                    <a:pt x="2308" y="410"/>
                    <a:pt x="2298" y="395"/>
                  </a:cubicBezTo>
                  <a:cubicBezTo>
                    <a:pt x="1581" y="465"/>
                    <a:pt x="1676" y="30"/>
                    <a:pt x="1252" y="18"/>
                  </a:cubicBezTo>
                  <a:cubicBezTo>
                    <a:pt x="596" y="0"/>
                    <a:pt x="337" y="947"/>
                    <a:pt x="226" y="1524"/>
                  </a:cubicBezTo>
                  <a:cubicBezTo>
                    <a:pt x="85" y="2260"/>
                    <a:pt x="0" y="3666"/>
                    <a:pt x="830" y="3346"/>
                  </a:cubicBezTo>
                  <a:cubicBezTo>
                    <a:pt x="923" y="3311"/>
                    <a:pt x="1971" y="2671"/>
                    <a:pt x="2097" y="2671"/>
                  </a:cubicBezTo>
                  <a:lnTo>
                    <a:pt x="2682" y="2671"/>
                  </a:lnTo>
                  <a:cubicBezTo>
                    <a:pt x="2808" y="2671"/>
                    <a:pt x="3856" y="3310"/>
                    <a:pt x="3949" y="3346"/>
                  </a:cubicBezTo>
                  <a:cubicBezTo>
                    <a:pt x="4747" y="3656"/>
                    <a:pt x="4693" y="2260"/>
                    <a:pt x="4552" y="1524"/>
                  </a:cubicBezTo>
                  <a:close/>
                  <a:moveTo>
                    <a:pt x="823" y="1223"/>
                  </a:moveTo>
                  <a:cubicBezTo>
                    <a:pt x="823" y="1044"/>
                    <a:pt x="970" y="899"/>
                    <a:pt x="1152" y="899"/>
                  </a:cubicBezTo>
                  <a:cubicBezTo>
                    <a:pt x="1333" y="899"/>
                    <a:pt x="1480" y="1044"/>
                    <a:pt x="1480" y="1223"/>
                  </a:cubicBezTo>
                  <a:cubicBezTo>
                    <a:pt x="1480" y="1401"/>
                    <a:pt x="1333" y="1546"/>
                    <a:pt x="1152" y="1546"/>
                  </a:cubicBezTo>
                  <a:cubicBezTo>
                    <a:pt x="970" y="1546"/>
                    <a:pt x="823" y="1402"/>
                    <a:pt x="823" y="1223"/>
                  </a:cubicBezTo>
                  <a:close/>
                  <a:moveTo>
                    <a:pt x="2088" y="2128"/>
                  </a:moveTo>
                  <a:lnTo>
                    <a:pt x="2084" y="2143"/>
                  </a:lnTo>
                  <a:cubicBezTo>
                    <a:pt x="2051" y="2266"/>
                    <a:pt x="1952" y="2362"/>
                    <a:pt x="1828" y="2394"/>
                  </a:cubicBezTo>
                  <a:lnTo>
                    <a:pt x="1805" y="2399"/>
                  </a:lnTo>
                  <a:cubicBezTo>
                    <a:pt x="1783" y="2404"/>
                    <a:pt x="1760" y="2406"/>
                    <a:pt x="1737" y="2406"/>
                  </a:cubicBezTo>
                  <a:cubicBezTo>
                    <a:pt x="1714" y="2406"/>
                    <a:pt x="1691" y="2404"/>
                    <a:pt x="1669" y="2399"/>
                  </a:cubicBezTo>
                  <a:lnTo>
                    <a:pt x="1644" y="2394"/>
                  </a:lnTo>
                  <a:cubicBezTo>
                    <a:pt x="1520" y="2361"/>
                    <a:pt x="1423" y="2265"/>
                    <a:pt x="1390" y="2143"/>
                  </a:cubicBezTo>
                  <a:lnTo>
                    <a:pt x="1384" y="2116"/>
                  </a:lnTo>
                  <a:cubicBezTo>
                    <a:pt x="1380" y="2095"/>
                    <a:pt x="1377" y="2074"/>
                    <a:pt x="1377" y="2052"/>
                  </a:cubicBezTo>
                  <a:cubicBezTo>
                    <a:pt x="1377" y="2030"/>
                    <a:pt x="1380" y="2009"/>
                    <a:pt x="1384" y="1988"/>
                  </a:cubicBezTo>
                  <a:lnTo>
                    <a:pt x="1390" y="1962"/>
                  </a:lnTo>
                  <a:cubicBezTo>
                    <a:pt x="1422" y="1839"/>
                    <a:pt x="1520" y="1743"/>
                    <a:pt x="1644" y="1710"/>
                  </a:cubicBezTo>
                  <a:lnTo>
                    <a:pt x="1662" y="1706"/>
                  </a:lnTo>
                  <a:cubicBezTo>
                    <a:pt x="1686" y="1700"/>
                    <a:pt x="1711" y="1698"/>
                    <a:pt x="1737" y="1698"/>
                  </a:cubicBezTo>
                  <a:cubicBezTo>
                    <a:pt x="1763" y="1698"/>
                    <a:pt x="1788" y="1700"/>
                    <a:pt x="1813" y="1706"/>
                  </a:cubicBezTo>
                  <a:lnTo>
                    <a:pt x="1828" y="1709"/>
                  </a:lnTo>
                  <a:cubicBezTo>
                    <a:pt x="1953" y="1742"/>
                    <a:pt x="2052" y="1839"/>
                    <a:pt x="2085" y="1962"/>
                  </a:cubicBezTo>
                  <a:lnTo>
                    <a:pt x="2088" y="1975"/>
                  </a:lnTo>
                  <a:cubicBezTo>
                    <a:pt x="2094" y="2000"/>
                    <a:pt x="2097" y="2025"/>
                    <a:pt x="2097" y="2052"/>
                  </a:cubicBezTo>
                  <a:cubicBezTo>
                    <a:pt x="2097" y="2078"/>
                    <a:pt x="2094" y="2104"/>
                    <a:pt x="2088" y="2128"/>
                  </a:cubicBezTo>
                  <a:close/>
                  <a:moveTo>
                    <a:pt x="3590" y="957"/>
                  </a:moveTo>
                  <a:cubicBezTo>
                    <a:pt x="3661" y="957"/>
                    <a:pt x="3719" y="1014"/>
                    <a:pt x="3719" y="1085"/>
                  </a:cubicBezTo>
                  <a:cubicBezTo>
                    <a:pt x="3719" y="1155"/>
                    <a:pt x="3661" y="1212"/>
                    <a:pt x="3590" y="1212"/>
                  </a:cubicBezTo>
                  <a:cubicBezTo>
                    <a:pt x="3519" y="1212"/>
                    <a:pt x="3461" y="1155"/>
                    <a:pt x="3461" y="1085"/>
                  </a:cubicBezTo>
                  <a:cubicBezTo>
                    <a:pt x="3461" y="1014"/>
                    <a:pt x="3519" y="957"/>
                    <a:pt x="3590" y="957"/>
                  </a:cubicBezTo>
                  <a:close/>
                  <a:moveTo>
                    <a:pt x="3047" y="2352"/>
                  </a:moveTo>
                  <a:cubicBezTo>
                    <a:pt x="2865" y="2352"/>
                    <a:pt x="2718" y="2207"/>
                    <a:pt x="2718" y="2029"/>
                  </a:cubicBezTo>
                  <a:cubicBezTo>
                    <a:pt x="2718" y="1850"/>
                    <a:pt x="2865" y="1705"/>
                    <a:pt x="3047" y="1705"/>
                  </a:cubicBezTo>
                  <a:cubicBezTo>
                    <a:pt x="3228" y="1705"/>
                    <a:pt x="3375" y="1850"/>
                    <a:pt x="3375" y="2029"/>
                  </a:cubicBezTo>
                  <a:cubicBezTo>
                    <a:pt x="3375" y="2207"/>
                    <a:pt x="3228" y="2352"/>
                    <a:pt x="3047" y="2352"/>
                  </a:cubicBezTo>
                  <a:close/>
                  <a:moveTo>
                    <a:pt x="3332" y="1466"/>
                  </a:moveTo>
                  <a:cubicBezTo>
                    <a:pt x="3261" y="1466"/>
                    <a:pt x="3203" y="1409"/>
                    <a:pt x="3203" y="1339"/>
                  </a:cubicBezTo>
                  <a:cubicBezTo>
                    <a:pt x="3203" y="1269"/>
                    <a:pt x="3261" y="1212"/>
                    <a:pt x="3332" y="1212"/>
                  </a:cubicBezTo>
                  <a:cubicBezTo>
                    <a:pt x="3403" y="1212"/>
                    <a:pt x="3461" y="1269"/>
                    <a:pt x="3461" y="1339"/>
                  </a:cubicBezTo>
                  <a:cubicBezTo>
                    <a:pt x="3461" y="1409"/>
                    <a:pt x="3403" y="1466"/>
                    <a:pt x="3332" y="1466"/>
                  </a:cubicBezTo>
                  <a:close/>
                  <a:moveTo>
                    <a:pt x="3590" y="1721"/>
                  </a:moveTo>
                  <a:cubicBezTo>
                    <a:pt x="3519" y="1721"/>
                    <a:pt x="3461" y="1664"/>
                    <a:pt x="3461" y="1593"/>
                  </a:cubicBezTo>
                  <a:cubicBezTo>
                    <a:pt x="3461" y="1523"/>
                    <a:pt x="3519" y="1466"/>
                    <a:pt x="3590" y="1466"/>
                  </a:cubicBezTo>
                  <a:cubicBezTo>
                    <a:pt x="3661" y="1466"/>
                    <a:pt x="3719" y="1523"/>
                    <a:pt x="3719" y="1593"/>
                  </a:cubicBezTo>
                  <a:cubicBezTo>
                    <a:pt x="3719" y="1664"/>
                    <a:pt x="3661" y="1721"/>
                    <a:pt x="3590" y="1721"/>
                  </a:cubicBezTo>
                  <a:close/>
                  <a:moveTo>
                    <a:pt x="3848" y="1466"/>
                  </a:moveTo>
                  <a:cubicBezTo>
                    <a:pt x="3777" y="1466"/>
                    <a:pt x="3719" y="1409"/>
                    <a:pt x="3719" y="1339"/>
                  </a:cubicBezTo>
                  <a:cubicBezTo>
                    <a:pt x="3719" y="1269"/>
                    <a:pt x="3777" y="1212"/>
                    <a:pt x="3848" y="1212"/>
                  </a:cubicBezTo>
                  <a:cubicBezTo>
                    <a:pt x="3920" y="1212"/>
                    <a:pt x="3978" y="1269"/>
                    <a:pt x="3978" y="1339"/>
                  </a:cubicBezTo>
                  <a:cubicBezTo>
                    <a:pt x="3978" y="1409"/>
                    <a:pt x="3920" y="1466"/>
                    <a:pt x="3848" y="14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24">
              <a:extLst>
                <a:ext uri="{FF2B5EF4-FFF2-40B4-BE49-F238E27FC236}">
                  <a16:creationId xmlns:a16="http://schemas.microsoft.com/office/drawing/2014/main" id="{5ADBDE33-8160-4B8E-89C6-D4693B261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1" y="3101"/>
              <a:ext cx="97" cy="95"/>
            </a:xfrm>
            <a:custGeom>
              <a:avLst/>
              <a:gdLst>
                <a:gd name="T0" fmla="*/ 0 w 241"/>
                <a:gd name="T1" fmla="*/ 236 h 236"/>
                <a:gd name="T2" fmla="*/ 241 w 241"/>
                <a:gd name="T3" fmla="*/ 0 h 236"/>
                <a:gd name="T4" fmla="*/ 0 w 241"/>
                <a:gd name="T5" fmla="*/ 0 h 236"/>
                <a:gd name="T6" fmla="*/ 0 w 241"/>
                <a:gd name="T7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236">
                  <a:moveTo>
                    <a:pt x="0" y="236"/>
                  </a:moveTo>
                  <a:cubicBezTo>
                    <a:pt x="116" y="204"/>
                    <a:pt x="208" y="114"/>
                    <a:pt x="241" y="0"/>
                  </a:cubicBezTo>
                  <a:lnTo>
                    <a:pt x="0" y="0"/>
                  </a:lnTo>
                  <a:lnTo>
                    <a:pt x="0" y="23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25">
              <a:extLst>
                <a:ext uri="{FF2B5EF4-FFF2-40B4-BE49-F238E27FC236}">
                  <a16:creationId xmlns:a16="http://schemas.microsoft.com/office/drawing/2014/main" id="{46443A25-D88F-413E-8250-2B01AC21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0" y="3101"/>
              <a:ext cx="96" cy="95"/>
            </a:xfrm>
            <a:custGeom>
              <a:avLst/>
              <a:gdLst>
                <a:gd name="T0" fmla="*/ 0 w 238"/>
                <a:gd name="T1" fmla="*/ 0 h 235"/>
                <a:gd name="T2" fmla="*/ 238 w 238"/>
                <a:gd name="T3" fmla="*/ 235 h 235"/>
                <a:gd name="T4" fmla="*/ 238 w 238"/>
                <a:gd name="T5" fmla="*/ 0 h 235"/>
                <a:gd name="T6" fmla="*/ 0 w 238"/>
                <a:gd name="T7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35">
                  <a:moveTo>
                    <a:pt x="0" y="0"/>
                  </a:moveTo>
                  <a:cubicBezTo>
                    <a:pt x="32" y="114"/>
                    <a:pt x="123" y="203"/>
                    <a:pt x="238" y="235"/>
                  </a:cubicBezTo>
                  <a:lnTo>
                    <a:pt x="23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26">
              <a:extLst>
                <a:ext uri="{FF2B5EF4-FFF2-40B4-BE49-F238E27FC236}">
                  <a16:creationId xmlns:a16="http://schemas.microsoft.com/office/drawing/2014/main" id="{0CF11611-A4E8-4417-B8CE-AD842E942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0" y="2932"/>
              <a:ext cx="96" cy="95"/>
            </a:xfrm>
            <a:custGeom>
              <a:avLst/>
              <a:gdLst>
                <a:gd name="T0" fmla="*/ 239 w 239"/>
                <a:gd name="T1" fmla="*/ 0 h 237"/>
                <a:gd name="T2" fmla="*/ 0 w 239"/>
                <a:gd name="T3" fmla="*/ 237 h 237"/>
                <a:gd name="T4" fmla="*/ 239 w 239"/>
                <a:gd name="T5" fmla="*/ 237 h 237"/>
                <a:gd name="T6" fmla="*/ 239 w 239"/>
                <a:gd name="T7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9" h="237">
                  <a:moveTo>
                    <a:pt x="239" y="0"/>
                  </a:moveTo>
                  <a:cubicBezTo>
                    <a:pt x="123" y="32"/>
                    <a:pt x="32" y="123"/>
                    <a:pt x="0" y="237"/>
                  </a:cubicBezTo>
                  <a:lnTo>
                    <a:pt x="239" y="237"/>
                  </a:lnTo>
                  <a:lnTo>
                    <a:pt x="2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24824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wesome space background | Space background iphone, Space backgrounds, Space  gallery">
            <a:extLst>
              <a:ext uri="{FF2B5EF4-FFF2-40B4-BE49-F238E27FC236}">
                <a16:creationId xmlns:a16="http://schemas.microsoft.com/office/drawing/2014/main" id="{656545F9-C4D8-4B4D-AB10-0ED461A17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3675746-F71A-423A-8D73-0272164019BF}"/>
              </a:ext>
            </a:extLst>
          </p:cNvPr>
          <p:cNvSpPr/>
          <p:nvPr/>
        </p:nvSpPr>
        <p:spPr>
          <a:xfrm>
            <a:off x="0" y="365125"/>
            <a:ext cx="12192000" cy="14605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4BE6DA-B99E-466D-B3B5-0275F0BAF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CA" sz="8000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Facts:</a:t>
            </a:r>
            <a:endParaRPr lang="fr-FR" sz="8000" dirty="0">
              <a:solidFill>
                <a:schemeClr val="bg1"/>
              </a:solidFill>
              <a:latin typeface="Bahnschrift Light Condensed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313888-B893-4E8F-B899-7287FEB5C5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41537"/>
            <a:ext cx="10515600" cy="4351338"/>
          </a:xfrm>
        </p:spPr>
        <p:txBody>
          <a:bodyPr/>
          <a:lstStyle/>
          <a:p>
            <a:pPr marL="0" indent="0" algn="ctr">
              <a:buNone/>
            </a:pPr>
            <a:r>
              <a:rPr lang="en-CA" sz="5400" dirty="0">
                <a:solidFill>
                  <a:schemeClr val="bg1"/>
                </a:solidFill>
                <a:latin typeface="Agency FB" panose="020B0503020202020204" pitchFamily="34" charset="0"/>
              </a:rPr>
              <a:t>80%</a:t>
            </a:r>
            <a:r>
              <a:rPr lang="en-CA" dirty="0">
                <a:solidFill>
                  <a:schemeClr val="bg1"/>
                </a:solidFill>
                <a:latin typeface="Agency FB" panose="020B0503020202020204" pitchFamily="34" charset="0"/>
              </a:rPr>
              <a:t> of learners say they would be more productive if their learning was more game like</a:t>
            </a:r>
            <a:endParaRPr lang="fr-FR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64557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dirty="0">
                <a:latin typeface="Bahnschrift SemiBold Condensed" panose="020B0502040204020203" pitchFamily="34" charset="0"/>
              </a:rPr>
              <a:t>Our </a:t>
            </a:r>
            <a:r>
              <a:rPr lang="en-US" altLang="ko-KR" dirty="0">
                <a:solidFill>
                  <a:schemeClr val="accent1"/>
                </a:solidFill>
                <a:latin typeface="Bahnschrift SemiBold Condensed" panose="020B0502040204020203" pitchFamily="34" charset="0"/>
              </a:rPr>
              <a:t>Team</a:t>
            </a:r>
            <a:r>
              <a:rPr lang="en-US" altLang="ko-KR" dirty="0">
                <a:latin typeface="Bahnschrift SemiBold Condensed" panose="020B0502040204020203" pitchFamily="34" charset="0"/>
              </a:rPr>
              <a:t> Layout</a:t>
            </a:r>
            <a:endParaRPr lang="ko-KR" altLang="en-US" dirty="0">
              <a:latin typeface="Bahnschrift SemiBold Condensed" panose="020B050204020402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E2AF4E3D-BFE8-40C6-8095-1DF7DE7DB6DC}"/>
              </a:ext>
            </a:extLst>
          </p:cNvPr>
          <p:cNvSpPr/>
          <p:nvPr/>
        </p:nvSpPr>
        <p:spPr>
          <a:xfrm>
            <a:off x="718640" y="2353524"/>
            <a:ext cx="2112235" cy="2150951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Flowchart: Connector 24">
            <a:extLst>
              <a:ext uri="{FF2B5EF4-FFF2-40B4-BE49-F238E27FC236}">
                <a16:creationId xmlns:a16="http://schemas.microsoft.com/office/drawing/2014/main" id="{A96A60DB-E2A4-4B88-AC9E-9371E3A2E334}"/>
              </a:ext>
            </a:extLst>
          </p:cNvPr>
          <p:cNvSpPr/>
          <p:nvPr/>
        </p:nvSpPr>
        <p:spPr>
          <a:xfrm>
            <a:off x="3599721" y="2354581"/>
            <a:ext cx="2112235" cy="2150951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Flowchart: Connector 25">
            <a:extLst>
              <a:ext uri="{FF2B5EF4-FFF2-40B4-BE49-F238E27FC236}">
                <a16:creationId xmlns:a16="http://schemas.microsoft.com/office/drawing/2014/main" id="{2441CD32-0651-413D-AC01-231678FBEB14}"/>
              </a:ext>
            </a:extLst>
          </p:cNvPr>
          <p:cNvSpPr/>
          <p:nvPr/>
        </p:nvSpPr>
        <p:spPr>
          <a:xfrm>
            <a:off x="6480804" y="2353524"/>
            <a:ext cx="2112235" cy="2150951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Flowchart: Connector 26">
            <a:extLst>
              <a:ext uri="{FF2B5EF4-FFF2-40B4-BE49-F238E27FC236}">
                <a16:creationId xmlns:a16="http://schemas.microsoft.com/office/drawing/2014/main" id="{AB9DECFB-8717-480E-ADDF-B6A297A7ED94}"/>
              </a:ext>
            </a:extLst>
          </p:cNvPr>
          <p:cNvSpPr/>
          <p:nvPr/>
        </p:nvSpPr>
        <p:spPr>
          <a:xfrm>
            <a:off x="9361884" y="2353524"/>
            <a:ext cx="2112235" cy="2150951"/>
          </a:xfrm>
          <a:prstGeom prst="flowChartConnector">
            <a:avLst/>
          </a:prstGeom>
          <a:solidFill>
            <a:schemeClr val="bg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Text Placeholder 17"/>
          <p:cNvSpPr txBox="1">
            <a:spLocks/>
          </p:cNvSpPr>
          <p:nvPr/>
        </p:nvSpPr>
        <p:spPr>
          <a:xfrm>
            <a:off x="525859" y="3217454"/>
            <a:ext cx="2305017" cy="328116"/>
          </a:xfrm>
          <a:prstGeom prst="rect">
            <a:avLst/>
          </a:prstGeom>
          <a:noFill/>
          <a:ln w="19050">
            <a:noFill/>
          </a:ln>
        </p:spPr>
        <p:txBody>
          <a:bodyPr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67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Najoua </a:t>
            </a:r>
            <a:r>
              <a:rPr lang="en-US" sz="1867" b="1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Boutahar</a:t>
            </a:r>
            <a:endParaRPr lang="en-US" sz="1867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70" name="Text Placeholder 17"/>
          <p:cNvSpPr txBox="1">
            <a:spLocks/>
          </p:cNvSpPr>
          <p:nvPr/>
        </p:nvSpPr>
        <p:spPr>
          <a:xfrm>
            <a:off x="3599722" y="3199187"/>
            <a:ext cx="2112235" cy="328116"/>
          </a:xfrm>
          <a:prstGeom prst="rect">
            <a:avLst/>
          </a:prstGeom>
          <a:noFill/>
          <a:ln w="19050">
            <a:noFill/>
          </a:ln>
        </p:spPr>
        <p:txBody>
          <a:bodyPr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67" b="1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Rihab</a:t>
            </a:r>
            <a:r>
              <a:rPr lang="en-US" sz="1867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US" sz="1867" b="1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Benyane</a:t>
            </a:r>
            <a:endParaRPr lang="en-US" sz="1867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74" name="Text Placeholder 17"/>
          <p:cNvSpPr txBox="1">
            <a:spLocks/>
          </p:cNvSpPr>
          <p:nvPr/>
        </p:nvSpPr>
        <p:spPr>
          <a:xfrm>
            <a:off x="6480804" y="3264942"/>
            <a:ext cx="2112235" cy="328116"/>
          </a:xfrm>
          <a:prstGeom prst="rect">
            <a:avLst/>
          </a:prstGeom>
          <a:noFill/>
          <a:ln w="19050">
            <a:noFill/>
          </a:ln>
        </p:spPr>
        <p:txBody>
          <a:bodyPr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67" b="1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Najlae</a:t>
            </a:r>
            <a:r>
              <a:rPr lang="en-US" sz="1867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Benami</a:t>
            </a:r>
          </a:p>
        </p:txBody>
      </p:sp>
      <p:sp>
        <p:nvSpPr>
          <p:cNvPr id="78" name="Text Placeholder 17"/>
          <p:cNvSpPr txBox="1">
            <a:spLocks/>
          </p:cNvSpPr>
          <p:nvPr/>
        </p:nvSpPr>
        <p:spPr>
          <a:xfrm>
            <a:off x="9361884" y="3264942"/>
            <a:ext cx="2112235" cy="328116"/>
          </a:xfrm>
          <a:prstGeom prst="rect">
            <a:avLst/>
          </a:prstGeom>
          <a:noFill/>
          <a:ln w="19050">
            <a:noFill/>
          </a:ln>
        </p:spPr>
        <p:txBody>
          <a:bodyPr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67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mine Rajini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A38B17E-EE43-4986-A6CA-95133A25FEFF}"/>
              </a:ext>
            </a:extLst>
          </p:cNvPr>
          <p:cNvSpPr/>
          <p:nvPr/>
        </p:nvSpPr>
        <p:spPr>
          <a:xfrm>
            <a:off x="0" y="4672916"/>
            <a:ext cx="12192000" cy="5211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 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42925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B506F87-A30A-4F79-AD10-E848D6495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F320210-EA45-4266-8FF8-A3B9C069F2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68DA16-B608-4A6C-9ABB-1D55B74FD07A}"/>
              </a:ext>
            </a:extLst>
          </p:cNvPr>
          <p:cNvGrpSpPr/>
          <p:nvPr/>
        </p:nvGrpSpPr>
        <p:grpSpPr>
          <a:xfrm>
            <a:off x="1366078" y="2177332"/>
            <a:ext cx="2517913" cy="3119562"/>
            <a:chOff x="731078" y="2177332"/>
            <a:chExt cx="2517913" cy="3119562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153FC527-9515-4659-9557-75071251399D}"/>
                </a:ext>
              </a:extLst>
            </p:cNvPr>
            <p:cNvSpPr/>
            <p:nvPr/>
          </p:nvSpPr>
          <p:spPr>
            <a:xfrm>
              <a:off x="731078" y="2177332"/>
              <a:ext cx="2517913" cy="3119562"/>
            </a:xfrm>
            <a:prstGeom prst="roundRect">
              <a:avLst>
                <a:gd name="adj" fmla="val 4035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3F5C3F7-6DBE-4C5F-B497-BA094BC7D989}"/>
                </a:ext>
              </a:extLst>
            </p:cNvPr>
            <p:cNvSpPr/>
            <p:nvPr/>
          </p:nvSpPr>
          <p:spPr>
            <a:xfrm>
              <a:off x="731078" y="2177332"/>
              <a:ext cx="2517913" cy="1020405"/>
            </a:xfrm>
            <a:custGeom>
              <a:avLst/>
              <a:gdLst>
                <a:gd name="connsiteX0" fmla="*/ 106857 w 2517913"/>
                <a:gd name="connsiteY0" fmla="*/ 0 h 1020405"/>
                <a:gd name="connsiteX1" fmla="*/ 2411056 w 2517913"/>
                <a:gd name="connsiteY1" fmla="*/ 0 h 1020405"/>
                <a:gd name="connsiteX2" fmla="*/ 2517913 w 2517913"/>
                <a:gd name="connsiteY2" fmla="*/ 106857 h 1020405"/>
                <a:gd name="connsiteX3" fmla="*/ 2517913 w 2517913"/>
                <a:gd name="connsiteY3" fmla="*/ 804405 h 1020405"/>
                <a:gd name="connsiteX4" fmla="*/ 1442517 w 2517913"/>
                <a:gd name="connsiteY4" fmla="*/ 804405 h 1020405"/>
                <a:gd name="connsiteX5" fmla="*/ 1258957 w 2517913"/>
                <a:gd name="connsiteY5" fmla="*/ 1020405 h 1020405"/>
                <a:gd name="connsiteX6" fmla="*/ 1075397 w 2517913"/>
                <a:gd name="connsiteY6" fmla="*/ 804405 h 1020405"/>
                <a:gd name="connsiteX7" fmla="*/ 0 w 2517913"/>
                <a:gd name="connsiteY7" fmla="*/ 804405 h 1020405"/>
                <a:gd name="connsiteX8" fmla="*/ 0 w 2517913"/>
                <a:gd name="connsiteY8" fmla="*/ 106857 h 1020405"/>
                <a:gd name="connsiteX9" fmla="*/ 106857 w 2517913"/>
                <a:gd name="connsiteY9" fmla="*/ 0 h 1020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7913" h="1020405">
                  <a:moveTo>
                    <a:pt x="106857" y="0"/>
                  </a:moveTo>
                  <a:lnTo>
                    <a:pt x="2411056" y="0"/>
                  </a:lnTo>
                  <a:cubicBezTo>
                    <a:pt x="2470071" y="0"/>
                    <a:pt x="2517913" y="47842"/>
                    <a:pt x="2517913" y="106857"/>
                  </a:cubicBezTo>
                  <a:lnTo>
                    <a:pt x="2517913" y="804405"/>
                  </a:lnTo>
                  <a:lnTo>
                    <a:pt x="1442517" y="804405"/>
                  </a:lnTo>
                  <a:lnTo>
                    <a:pt x="1258957" y="1020405"/>
                  </a:lnTo>
                  <a:lnTo>
                    <a:pt x="1075397" y="804405"/>
                  </a:lnTo>
                  <a:lnTo>
                    <a:pt x="0" y="804405"/>
                  </a:lnTo>
                  <a:lnTo>
                    <a:pt x="0" y="106857"/>
                  </a:lnTo>
                  <a:cubicBezTo>
                    <a:pt x="0" y="47842"/>
                    <a:pt x="47842" y="0"/>
                    <a:pt x="106857" y="0"/>
                  </a:cubicBezTo>
                  <a:close/>
                </a:path>
              </a:pathLst>
            </a:custGeom>
            <a:solidFill>
              <a:srgbClr val="FFFFFF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20F1C21-EE7C-47A4-8FB4-09D0C792AFD5}"/>
              </a:ext>
            </a:extLst>
          </p:cNvPr>
          <p:cNvGrpSpPr/>
          <p:nvPr/>
        </p:nvGrpSpPr>
        <p:grpSpPr>
          <a:xfrm>
            <a:off x="4837043" y="2177332"/>
            <a:ext cx="2517914" cy="3119562"/>
            <a:chOff x="3468388" y="2177332"/>
            <a:chExt cx="2517914" cy="3119562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6864068C-75D6-4551-909D-E1846EB9E02C}"/>
                </a:ext>
              </a:extLst>
            </p:cNvPr>
            <p:cNvSpPr/>
            <p:nvPr/>
          </p:nvSpPr>
          <p:spPr>
            <a:xfrm>
              <a:off x="3468389" y="2177332"/>
              <a:ext cx="2517913" cy="3119562"/>
            </a:xfrm>
            <a:prstGeom prst="roundRect">
              <a:avLst>
                <a:gd name="adj" fmla="val 4035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7073125-2023-4484-907B-765844475958}"/>
                </a:ext>
              </a:extLst>
            </p:cNvPr>
            <p:cNvSpPr/>
            <p:nvPr/>
          </p:nvSpPr>
          <p:spPr>
            <a:xfrm>
              <a:off x="3468388" y="2177332"/>
              <a:ext cx="2517913" cy="1020405"/>
            </a:xfrm>
            <a:custGeom>
              <a:avLst/>
              <a:gdLst>
                <a:gd name="connsiteX0" fmla="*/ 106857 w 2517913"/>
                <a:gd name="connsiteY0" fmla="*/ 0 h 1020405"/>
                <a:gd name="connsiteX1" fmla="*/ 2411056 w 2517913"/>
                <a:gd name="connsiteY1" fmla="*/ 0 h 1020405"/>
                <a:gd name="connsiteX2" fmla="*/ 2517913 w 2517913"/>
                <a:gd name="connsiteY2" fmla="*/ 106857 h 1020405"/>
                <a:gd name="connsiteX3" fmla="*/ 2517913 w 2517913"/>
                <a:gd name="connsiteY3" fmla="*/ 804405 h 1020405"/>
                <a:gd name="connsiteX4" fmla="*/ 1442517 w 2517913"/>
                <a:gd name="connsiteY4" fmla="*/ 804405 h 1020405"/>
                <a:gd name="connsiteX5" fmla="*/ 1258957 w 2517913"/>
                <a:gd name="connsiteY5" fmla="*/ 1020405 h 1020405"/>
                <a:gd name="connsiteX6" fmla="*/ 1075397 w 2517913"/>
                <a:gd name="connsiteY6" fmla="*/ 804405 h 1020405"/>
                <a:gd name="connsiteX7" fmla="*/ 0 w 2517913"/>
                <a:gd name="connsiteY7" fmla="*/ 804405 h 1020405"/>
                <a:gd name="connsiteX8" fmla="*/ 0 w 2517913"/>
                <a:gd name="connsiteY8" fmla="*/ 106857 h 1020405"/>
                <a:gd name="connsiteX9" fmla="*/ 106857 w 2517913"/>
                <a:gd name="connsiteY9" fmla="*/ 0 h 1020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7913" h="1020405">
                  <a:moveTo>
                    <a:pt x="106857" y="0"/>
                  </a:moveTo>
                  <a:lnTo>
                    <a:pt x="2411056" y="0"/>
                  </a:lnTo>
                  <a:cubicBezTo>
                    <a:pt x="2470071" y="0"/>
                    <a:pt x="2517913" y="47842"/>
                    <a:pt x="2517913" y="106857"/>
                  </a:cubicBezTo>
                  <a:lnTo>
                    <a:pt x="2517913" y="804405"/>
                  </a:lnTo>
                  <a:lnTo>
                    <a:pt x="1442517" y="804405"/>
                  </a:lnTo>
                  <a:lnTo>
                    <a:pt x="1258957" y="1020405"/>
                  </a:lnTo>
                  <a:lnTo>
                    <a:pt x="1075397" y="804405"/>
                  </a:lnTo>
                  <a:lnTo>
                    <a:pt x="0" y="804405"/>
                  </a:lnTo>
                  <a:lnTo>
                    <a:pt x="0" y="106857"/>
                  </a:lnTo>
                  <a:cubicBezTo>
                    <a:pt x="0" y="47842"/>
                    <a:pt x="47842" y="0"/>
                    <a:pt x="106857" y="0"/>
                  </a:cubicBezTo>
                  <a:close/>
                </a:path>
              </a:pathLst>
            </a:custGeom>
            <a:solidFill>
              <a:srgbClr val="FFFFFF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37979B9-577E-4E1D-8905-AFB1781DEEC2}"/>
              </a:ext>
            </a:extLst>
          </p:cNvPr>
          <p:cNvGrpSpPr/>
          <p:nvPr/>
        </p:nvGrpSpPr>
        <p:grpSpPr>
          <a:xfrm>
            <a:off x="8308009" y="2177332"/>
            <a:ext cx="2517915" cy="3119562"/>
            <a:chOff x="6205698" y="2177332"/>
            <a:chExt cx="2517915" cy="3119562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E3E4D14-2014-4065-9122-89ABB72F7B5E}"/>
                </a:ext>
              </a:extLst>
            </p:cNvPr>
            <p:cNvSpPr/>
            <p:nvPr/>
          </p:nvSpPr>
          <p:spPr>
            <a:xfrm>
              <a:off x="6205700" y="2177332"/>
              <a:ext cx="2517913" cy="3119562"/>
            </a:xfrm>
            <a:prstGeom prst="roundRect">
              <a:avLst>
                <a:gd name="adj" fmla="val 403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8E8E50C-AE82-47AD-A68A-8839F56BEB2E}"/>
                </a:ext>
              </a:extLst>
            </p:cNvPr>
            <p:cNvSpPr/>
            <p:nvPr/>
          </p:nvSpPr>
          <p:spPr>
            <a:xfrm>
              <a:off x="6205698" y="2177332"/>
              <a:ext cx="2517913" cy="1020405"/>
            </a:xfrm>
            <a:custGeom>
              <a:avLst/>
              <a:gdLst>
                <a:gd name="connsiteX0" fmla="*/ 106857 w 2517913"/>
                <a:gd name="connsiteY0" fmla="*/ 0 h 1020405"/>
                <a:gd name="connsiteX1" fmla="*/ 2411056 w 2517913"/>
                <a:gd name="connsiteY1" fmla="*/ 0 h 1020405"/>
                <a:gd name="connsiteX2" fmla="*/ 2517913 w 2517913"/>
                <a:gd name="connsiteY2" fmla="*/ 106857 h 1020405"/>
                <a:gd name="connsiteX3" fmla="*/ 2517913 w 2517913"/>
                <a:gd name="connsiteY3" fmla="*/ 804405 h 1020405"/>
                <a:gd name="connsiteX4" fmla="*/ 1442517 w 2517913"/>
                <a:gd name="connsiteY4" fmla="*/ 804405 h 1020405"/>
                <a:gd name="connsiteX5" fmla="*/ 1258957 w 2517913"/>
                <a:gd name="connsiteY5" fmla="*/ 1020405 h 1020405"/>
                <a:gd name="connsiteX6" fmla="*/ 1075397 w 2517913"/>
                <a:gd name="connsiteY6" fmla="*/ 804405 h 1020405"/>
                <a:gd name="connsiteX7" fmla="*/ 0 w 2517913"/>
                <a:gd name="connsiteY7" fmla="*/ 804405 h 1020405"/>
                <a:gd name="connsiteX8" fmla="*/ 0 w 2517913"/>
                <a:gd name="connsiteY8" fmla="*/ 106857 h 1020405"/>
                <a:gd name="connsiteX9" fmla="*/ 106857 w 2517913"/>
                <a:gd name="connsiteY9" fmla="*/ 0 h 1020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7913" h="1020405">
                  <a:moveTo>
                    <a:pt x="106857" y="0"/>
                  </a:moveTo>
                  <a:lnTo>
                    <a:pt x="2411056" y="0"/>
                  </a:lnTo>
                  <a:cubicBezTo>
                    <a:pt x="2470071" y="0"/>
                    <a:pt x="2517913" y="47842"/>
                    <a:pt x="2517913" y="106857"/>
                  </a:cubicBezTo>
                  <a:lnTo>
                    <a:pt x="2517913" y="804405"/>
                  </a:lnTo>
                  <a:lnTo>
                    <a:pt x="1442517" y="804405"/>
                  </a:lnTo>
                  <a:lnTo>
                    <a:pt x="1258957" y="1020405"/>
                  </a:lnTo>
                  <a:lnTo>
                    <a:pt x="1075397" y="804405"/>
                  </a:lnTo>
                  <a:lnTo>
                    <a:pt x="0" y="804405"/>
                  </a:lnTo>
                  <a:lnTo>
                    <a:pt x="0" y="106857"/>
                  </a:lnTo>
                  <a:cubicBezTo>
                    <a:pt x="0" y="47842"/>
                    <a:pt x="47842" y="0"/>
                    <a:pt x="106857" y="0"/>
                  </a:cubicBezTo>
                  <a:close/>
                </a:path>
              </a:pathLst>
            </a:custGeom>
            <a:solidFill>
              <a:srgbClr val="FFFFFF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93ECE54D-E8AC-4F71-AD94-35E72E374B79}"/>
              </a:ext>
            </a:extLst>
          </p:cNvPr>
          <p:cNvSpPr/>
          <p:nvPr/>
        </p:nvSpPr>
        <p:spPr>
          <a:xfrm>
            <a:off x="1450335" y="3193138"/>
            <a:ext cx="2349397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  <a:spcBef>
                <a:spcPts val="252"/>
              </a:spcBef>
              <a:spcAft>
                <a:spcPts val="252"/>
              </a:spcAft>
              <a:defRPr/>
            </a:pPr>
            <a:r>
              <a:rPr lang="en-US" b="1" kern="0" dirty="0">
                <a:solidFill>
                  <a:schemeClr val="bg1"/>
                </a:solidFill>
                <a:latin typeface="Agency FB" panose="020B0503020202020204" pitchFamily="34" charset="0"/>
              </a:rPr>
              <a:t>Educate people about NASA’s Earth science studi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F4CCADC-A228-41D9-9347-65B58BE2FC2C}"/>
              </a:ext>
            </a:extLst>
          </p:cNvPr>
          <p:cNvSpPr/>
          <p:nvPr/>
        </p:nvSpPr>
        <p:spPr>
          <a:xfrm>
            <a:off x="4837041" y="3133535"/>
            <a:ext cx="2397136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  <a:spcBef>
                <a:spcPts val="252"/>
              </a:spcBef>
              <a:spcAft>
                <a:spcPts val="252"/>
              </a:spcAft>
              <a:defRPr/>
            </a:pPr>
            <a:r>
              <a:rPr lang="en-US" b="1" kern="0" dirty="0">
                <a:solidFill>
                  <a:schemeClr val="bg1"/>
                </a:solidFill>
                <a:latin typeface="Agency FB" panose="020B0503020202020204" pitchFamily="34" charset="0"/>
              </a:rPr>
              <a:t>Learn characteristics, dates and important events of NASA’s Earth science histor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C39DB7C-49F1-41AD-B276-C68CF85C2641}"/>
              </a:ext>
            </a:extLst>
          </p:cNvPr>
          <p:cNvSpPr/>
          <p:nvPr/>
        </p:nvSpPr>
        <p:spPr>
          <a:xfrm>
            <a:off x="8308009" y="3288290"/>
            <a:ext cx="2625032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  <a:spcBef>
                <a:spcPts val="252"/>
              </a:spcBef>
              <a:spcAft>
                <a:spcPts val="252"/>
              </a:spcAft>
              <a:defRPr/>
            </a:pPr>
            <a:r>
              <a:rPr lang="en-US" b="1" kern="0" dirty="0">
                <a:solidFill>
                  <a:schemeClr val="bg1"/>
                </a:solidFill>
                <a:latin typeface="Agency FB" panose="020B0503020202020204" pitchFamily="34" charset="0"/>
              </a:rPr>
              <a:t>Providing  simple explanations of complicated NASA’s Earth themed subjec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DE476E7-7A1A-4966-9CC2-ECD97C39903F}"/>
              </a:ext>
            </a:extLst>
          </p:cNvPr>
          <p:cNvSpPr txBox="1"/>
          <p:nvPr/>
        </p:nvSpPr>
        <p:spPr>
          <a:xfrm>
            <a:off x="2089913" y="2313069"/>
            <a:ext cx="17940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3200" b="1" dirty="0">
                <a:solidFill>
                  <a:schemeClr val="bg1"/>
                </a:solidFill>
                <a:latin typeface="Agency FB" panose="020B0503020202020204" pitchFamily="34" charset="0"/>
              </a:rPr>
              <a:t>GOAL 1:</a:t>
            </a:r>
            <a:endParaRPr lang="fr-FR" sz="32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741C06B-DC09-4E5E-8409-F6286BE0EF1C}"/>
              </a:ext>
            </a:extLst>
          </p:cNvPr>
          <p:cNvSpPr txBox="1"/>
          <p:nvPr/>
        </p:nvSpPr>
        <p:spPr>
          <a:xfrm>
            <a:off x="9046744" y="2313069"/>
            <a:ext cx="17940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3200" b="1" dirty="0">
                <a:solidFill>
                  <a:schemeClr val="bg1"/>
                </a:solidFill>
                <a:latin typeface="Agency FB" panose="020B0503020202020204" pitchFamily="34" charset="0"/>
              </a:rPr>
              <a:t>GOAL 3:</a:t>
            </a:r>
            <a:endParaRPr lang="fr-FR" sz="32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4522818-53B8-4C33-BF9A-BA9157EEEA41}"/>
              </a:ext>
            </a:extLst>
          </p:cNvPr>
          <p:cNvSpPr txBox="1"/>
          <p:nvPr/>
        </p:nvSpPr>
        <p:spPr>
          <a:xfrm>
            <a:off x="5560881" y="2337371"/>
            <a:ext cx="17940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3200" b="1" dirty="0">
                <a:solidFill>
                  <a:schemeClr val="bg1"/>
                </a:solidFill>
                <a:latin typeface="Agency FB" panose="020B0503020202020204" pitchFamily="34" charset="0"/>
              </a:rPr>
              <a:t>GOAL 2:</a:t>
            </a:r>
            <a:endParaRPr lang="fr-FR" sz="32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9511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wesome space background | Space background iphone, Space backgrounds, Space  gallery">
            <a:extLst>
              <a:ext uri="{FF2B5EF4-FFF2-40B4-BE49-F238E27FC236}">
                <a16:creationId xmlns:a16="http://schemas.microsoft.com/office/drawing/2014/main" id="{578B3C31-A0DD-482B-86B4-5F8428DB0E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8631CDE-CCFB-480D-A22A-2D99A7E039CB}"/>
              </a:ext>
            </a:extLst>
          </p:cNvPr>
          <p:cNvSpPr/>
          <p:nvPr/>
        </p:nvSpPr>
        <p:spPr>
          <a:xfrm>
            <a:off x="0" y="365125"/>
            <a:ext cx="12192000" cy="14605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DB843C-FD6F-4B1C-AEF8-4E57CB3E2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CA" sz="8000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Facts:</a:t>
            </a:r>
            <a:endParaRPr lang="fr-FR" sz="8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40988-A324-463A-B141-232A32BDB8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dirty="0">
                <a:solidFill>
                  <a:schemeClr val="bg1"/>
                </a:solidFill>
                <a:latin typeface="Agency FB" panose="020B0503020202020204" pitchFamily="34" charset="0"/>
              </a:rPr>
              <a:t>Research has shown that micro learning improves learners’ performance by </a:t>
            </a:r>
            <a:r>
              <a:rPr lang="en-CA" sz="5400" dirty="0">
                <a:solidFill>
                  <a:schemeClr val="bg1"/>
                </a:solidFill>
                <a:latin typeface="Agency FB" panose="020B0503020202020204" pitchFamily="34" charset="0"/>
              </a:rPr>
              <a:t>17%</a:t>
            </a:r>
            <a:r>
              <a:rPr lang="en-CA" dirty="0">
                <a:solidFill>
                  <a:schemeClr val="bg1"/>
                </a:solidFill>
                <a:latin typeface="Agency FB" panose="020B0503020202020204" pitchFamily="34" charset="0"/>
              </a:rPr>
              <a:t> </a:t>
            </a:r>
            <a:endParaRPr lang="fr-FR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8793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587" y="0"/>
            <a:ext cx="433782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cxnSp>
        <p:nvCxnSpPr>
          <p:cNvPr id="13" name="Straight Connector 12"/>
          <p:cNvCxnSpPr/>
          <p:nvPr/>
        </p:nvCxnSpPr>
        <p:spPr>
          <a:xfrm>
            <a:off x="7902350" y="4162835"/>
            <a:ext cx="596462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006064" y="3079177"/>
            <a:ext cx="237276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200" b="1" spc="400" dirty="0">
                <a:solidFill>
                  <a:schemeClr val="tx2"/>
                </a:solidFill>
                <a:latin typeface="Bahnschrift SemiBold Condensed" panose="020B0502040204020203" pitchFamily="34" charset="0"/>
                <a:ea typeface="Lato Black" charset="0"/>
                <a:cs typeface="Lato Black" charset="0"/>
              </a:rPr>
              <a:t>Our user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569388" y="4530913"/>
            <a:ext cx="1261885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Poppins SemiBold" charset="0"/>
                <a:ea typeface="Poppins SemiBold" charset="0"/>
                <a:cs typeface="Poppins SemiBold" charset="0"/>
              </a:rPr>
              <a:t>OUR PRIORIT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727411" y="1629767"/>
            <a:ext cx="768159" cy="43088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2200" b="1" dirty="0">
                <a:solidFill>
                  <a:schemeClr val="bg1"/>
                </a:solidFill>
                <a:latin typeface="Bahnschrift Condensed" panose="020B0502040204020203" pitchFamily="34" charset="0"/>
                <a:ea typeface="Poppins SemiBold" charset="0"/>
                <a:cs typeface="Poppins SemiBold" charset="0"/>
              </a:rPr>
              <a:t>ABOUT</a:t>
            </a:r>
            <a:endParaRPr lang="en-US" sz="1500" b="1" dirty="0">
              <a:solidFill>
                <a:schemeClr val="bg1"/>
              </a:solidFill>
              <a:latin typeface="Bahnschrift Condensed" panose="020B0502040204020203" pitchFamily="34" charset="0"/>
              <a:ea typeface="Poppins SemiBold" charset="0"/>
              <a:cs typeface="Poppins SemiBold" charset="0"/>
            </a:endParaRPr>
          </a:p>
        </p:txBody>
      </p:sp>
      <p:sp>
        <p:nvSpPr>
          <p:cNvPr id="22" name="Hexagon 21"/>
          <p:cNvSpPr/>
          <p:nvPr/>
        </p:nvSpPr>
        <p:spPr>
          <a:xfrm rot="5400000">
            <a:off x="7544102" y="2102044"/>
            <a:ext cx="1296687" cy="1095846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grpSp>
        <p:nvGrpSpPr>
          <p:cNvPr id="10" name="Group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36D234A-A20E-4A00-9CA7-003B5A20F15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810752" y="2423247"/>
            <a:ext cx="763385" cy="453439"/>
            <a:chOff x="27" y="117"/>
            <a:chExt cx="399" cy="237"/>
          </a:xfrm>
          <a:solidFill>
            <a:schemeClr val="bg1"/>
          </a:solidFill>
        </p:grpSpPr>
        <p:sp>
          <p:nvSpPr>
            <p:cNvPr id="11" name="Group2">
              <a:extLst>
                <a:ext uri="{FF2B5EF4-FFF2-40B4-BE49-F238E27FC236}">
                  <a16:creationId xmlns:a16="http://schemas.microsoft.com/office/drawing/2014/main" id="{975428B3-FE02-4958-9F7B-8CAABB58438F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17" y="117"/>
              <a:ext cx="217" cy="237"/>
            </a:xfrm>
            <a:custGeom>
              <a:avLst/>
              <a:gdLst>
                <a:gd name="T0" fmla="*/ 38 w 150"/>
                <a:gd name="T1" fmla="*/ 38 h 163"/>
                <a:gd name="T2" fmla="*/ 75 w 150"/>
                <a:gd name="T3" fmla="*/ 0 h 163"/>
                <a:gd name="T4" fmla="*/ 113 w 150"/>
                <a:gd name="T5" fmla="*/ 38 h 163"/>
                <a:gd name="T6" fmla="*/ 75 w 150"/>
                <a:gd name="T7" fmla="*/ 75 h 163"/>
                <a:gd name="T8" fmla="*/ 38 w 150"/>
                <a:gd name="T9" fmla="*/ 38 h 163"/>
                <a:gd name="T10" fmla="*/ 75 w 150"/>
                <a:gd name="T11" fmla="*/ 100 h 163"/>
                <a:gd name="T12" fmla="*/ 0 w 150"/>
                <a:gd name="T13" fmla="*/ 141 h 163"/>
                <a:gd name="T14" fmla="*/ 0 w 150"/>
                <a:gd name="T15" fmla="*/ 163 h 163"/>
                <a:gd name="T16" fmla="*/ 150 w 150"/>
                <a:gd name="T17" fmla="*/ 163 h 163"/>
                <a:gd name="T18" fmla="*/ 150 w 150"/>
                <a:gd name="T19" fmla="*/ 141 h 163"/>
                <a:gd name="T20" fmla="*/ 75 w 150"/>
                <a:gd name="T21" fmla="*/ 10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0" h="163">
                  <a:moveTo>
                    <a:pt x="38" y="38"/>
                  </a:moveTo>
                  <a:cubicBezTo>
                    <a:pt x="38" y="16"/>
                    <a:pt x="54" y="0"/>
                    <a:pt x="75" y="0"/>
                  </a:cubicBezTo>
                  <a:cubicBezTo>
                    <a:pt x="96" y="0"/>
                    <a:pt x="113" y="16"/>
                    <a:pt x="113" y="38"/>
                  </a:cubicBezTo>
                  <a:cubicBezTo>
                    <a:pt x="113" y="59"/>
                    <a:pt x="96" y="75"/>
                    <a:pt x="75" y="75"/>
                  </a:cubicBezTo>
                  <a:cubicBezTo>
                    <a:pt x="54" y="75"/>
                    <a:pt x="38" y="59"/>
                    <a:pt x="38" y="38"/>
                  </a:cubicBezTo>
                  <a:close/>
                  <a:moveTo>
                    <a:pt x="75" y="100"/>
                  </a:moveTo>
                  <a:cubicBezTo>
                    <a:pt x="18" y="100"/>
                    <a:pt x="0" y="141"/>
                    <a:pt x="0" y="141"/>
                  </a:cubicBezTo>
                  <a:lnTo>
                    <a:pt x="0" y="163"/>
                  </a:lnTo>
                  <a:lnTo>
                    <a:pt x="150" y="163"/>
                  </a:lnTo>
                  <a:lnTo>
                    <a:pt x="150" y="141"/>
                  </a:lnTo>
                  <a:cubicBezTo>
                    <a:pt x="150" y="141"/>
                    <a:pt x="133" y="100"/>
                    <a:pt x="75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Group2">
              <a:extLst>
                <a:ext uri="{FF2B5EF4-FFF2-40B4-BE49-F238E27FC236}">
                  <a16:creationId xmlns:a16="http://schemas.microsoft.com/office/drawing/2014/main" id="{BFA9DC5C-FE73-4A6D-9EC9-FAEA8B307A35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98" y="117"/>
              <a:ext cx="91" cy="9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Group2">
              <a:extLst>
                <a:ext uri="{FF2B5EF4-FFF2-40B4-BE49-F238E27FC236}">
                  <a16:creationId xmlns:a16="http://schemas.microsoft.com/office/drawing/2014/main" id="{AF39F65F-6352-4EE5-9D3B-E0C3DEAB101F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92" y="245"/>
              <a:ext cx="134" cy="74"/>
            </a:xfrm>
            <a:custGeom>
              <a:avLst/>
              <a:gdLst>
                <a:gd name="T0" fmla="*/ 35 w 92"/>
                <a:gd name="T1" fmla="*/ 0 h 51"/>
                <a:gd name="T2" fmla="*/ 0 w 92"/>
                <a:gd name="T3" fmla="*/ 10 h 51"/>
                <a:gd name="T4" fmla="*/ 40 w 92"/>
                <a:gd name="T5" fmla="*/ 50 h 51"/>
                <a:gd name="T6" fmla="*/ 40 w 92"/>
                <a:gd name="T7" fmla="*/ 51 h 51"/>
                <a:gd name="T8" fmla="*/ 92 w 92"/>
                <a:gd name="T9" fmla="*/ 51 h 51"/>
                <a:gd name="T10" fmla="*/ 92 w 92"/>
                <a:gd name="T11" fmla="*/ 35 h 51"/>
                <a:gd name="T12" fmla="*/ 35 w 92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51">
                  <a:moveTo>
                    <a:pt x="35" y="0"/>
                  </a:moveTo>
                  <a:cubicBezTo>
                    <a:pt x="20" y="0"/>
                    <a:pt x="9" y="3"/>
                    <a:pt x="0" y="10"/>
                  </a:cubicBezTo>
                  <a:cubicBezTo>
                    <a:pt x="29" y="23"/>
                    <a:pt x="40" y="47"/>
                    <a:pt x="40" y="50"/>
                  </a:cubicBezTo>
                  <a:lnTo>
                    <a:pt x="40" y="51"/>
                  </a:lnTo>
                  <a:lnTo>
                    <a:pt x="92" y="51"/>
                  </a:lnTo>
                  <a:lnTo>
                    <a:pt x="92" y="35"/>
                  </a:lnTo>
                  <a:cubicBezTo>
                    <a:pt x="92" y="33"/>
                    <a:pt x="78" y="0"/>
                    <a:pt x="3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Group2">
              <a:extLst>
                <a:ext uri="{FF2B5EF4-FFF2-40B4-BE49-F238E27FC236}">
                  <a16:creationId xmlns:a16="http://schemas.microsoft.com/office/drawing/2014/main" id="{011491F8-8C2F-4C05-A38D-342EE41C7BA9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98" y="117"/>
              <a:ext cx="91" cy="9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Group2">
              <a:extLst>
                <a:ext uri="{FF2B5EF4-FFF2-40B4-BE49-F238E27FC236}">
                  <a16:creationId xmlns:a16="http://schemas.microsoft.com/office/drawing/2014/main" id="{85AA78AE-D654-4D23-A982-524510DB6596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92" y="245"/>
              <a:ext cx="134" cy="74"/>
            </a:xfrm>
            <a:custGeom>
              <a:avLst/>
              <a:gdLst>
                <a:gd name="T0" fmla="*/ 35 w 92"/>
                <a:gd name="T1" fmla="*/ 0 h 51"/>
                <a:gd name="T2" fmla="*/ 0 w 92"/>
                <a:gd name="T3" fmla="*/ 10 h 51"/>
                <a:gd name="T4" fmla="*/ 40 w 92"/>
                <a:gd name="T5" fmla="*/ 50 h 51"/>
                <a:gd name="T6" fmla="*/ 40 w 92"/>
                <a:gd name="T7" fmla="*/ 51 h 51"/>
                <a:gd name="T8" fmla="*/ 92 w 92"/>
                <a:gd name="T9" fmla="*/ 51 h 51"/>
                <a:gd name="T10" fmla="*/ 92 w 92"/>
                <a:gd name="T11" fmla="*/ 35 h 51"/>
                <a:gd name="T12" fmla="*/ 35 w 92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51">
                  <a:moveTo>
                    <a:pt x="35" y="0"/>
                  </a:moveTo>
                  <a:cubicBezTo>
                    <a:pt x="20" y="0"/>
                    <a:pt x="9" y="3"/>
                    <a:pt x="0" y="10"/>
                  </a:cubicBezTo>
                  <a:cubicBezTo>
                    <a:pt x="29" y="23"/>
                    <a:pt x="40" y="47"/>
                    <a:pt x="40" y="50"/>
                  </a:cubicBezTo>
                  <a:lnTo>
                    <a:pt x="40" y="51"/>
                  </a:lnTo>
                  <a:lnTo>
                    <a:pt x="92" y="51"/>
                  </a:lnTo>
                  <a:lnTo>
                    <a:pt x="92" y="35"/>
                  </a:lnTo>
                  <a:cubicBezTo>
                    <a:pt x="92" y="33"/>
                    <a:pt x="78" y="0"/>
                    <a:pt x="3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Group2">
              <a:extLst>
                <a:ext uri="{FF2B5EF4-FFF2-40B4-BE49-F238E27FC236}">
                  <a16:creationId xmlns:a16="http://schemas.microsoft.com/office/drawing/2014/main" id="{512084C9-0A05-4B1B-BBD2-1BB8F56F5C9E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3" y="117"/>
              <a:ext cx="90" cy="9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Group2">
              <a:extLst>
                <a:ext uri="{FF2B5EF4-FFF2-40B4-BE49-F238E27FC236}">
                  <a16:creationId xmlns:a16="http://schemas.microsoft.com/office/drawing/2014/main" id="{C2343B79-6560-4DA3-93C8-081F7FB1FC5A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7" y="245"/>
              <a:ext cx="132" cy="74"/>
            </a:xfrm>
            <a:custGeom>
              <a:avLst/>
              <a:gdLst>
                <a:gd name="T0" fmla="*/ 56 w 91"/>
                <a:gd name="T1" fmla="*/ 0 h 51"/>
                <a:gd name="T2" fmla="*/ 91 w 91"/>
                <a:gd name="T3" fmla="*/ 10 h 51"/>
                <a:gd name="T4" fmla="*/ 51 w 91"/>
                <a:gd name="T5" fmla="*/ 50 h 51"/>
                <a:gd name="T6" fmla="*/ 51 w 91"/>
                <a:gd name="T7" fmla="*/ 51 h 51"/>
                <a:gd name="T8" fmla="*/ 0 w 91"/>
                <a:gd name="T9" fmla="*/ 51 h 51"/>
                <a:gd name="T10" fmla="*/ 0 w 91"/>
                <a:gd name="T11" fmla="*/ 35 h 51"/>
                <a:gd name="T12" fmla="*/ 56 w 9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51">
                  <a:moveTo>
                    <a:pt x="56" y="0"/>
                  </a:moveTo>
                  <a:cubicBezTo>
                    <a:pt x="71" y="0"/>
                    <a:pt x="82" y="3"/>
                    <a:pt x="91" y="10"/>
                  </a:cubicBezTo>
                  <a:cubicBezTo>
                    <a:pt x="62" y="23"/>
                    <a:pt x="51" y="47"/>
                    <a:pt x="51" y="50"/>
                  </a:cubicBezTo>
                  <a:lnTo>
                    <a:pt x="51" y="51"/>
                  </a:lnTo>
                  <a:lnTo>
                    <a:pt x="0" y="51"/>
                  </a:lnTo>
                  <a:lnTo>
                    <a:pt x="0" y="35"/>
                  </a:lnTo>
                  <a:cubicBezTo>
                    <a:pt x="0" y="33"/>
                    <a:pt x="13" y="0"/>
                    <a:pt x="5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5526DE9-8E1E-4632-ADAE-9534C9F688B3}"/>
              </a:ext>
            </a:extLst>
          </p:cNvPr>
          <p:cNvSpPr txBox="1"/>
          <p:nvPr/>
        </p:nvSpPr>
        <p:spPr>
          <a:xfrm>
            <a:off x="685670" y="2423246"/>
            <a:ext cx="31830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CA" dirty="0">
                <a:solidFill>
                  <a:schemeClr val="bg1"/>
                </a:solidFill>
              </a:rPr>
              <a:t>Our app is suitable for a wide and diverse audience range from children to adults  of all ages and backgrounds </a:t>
            </a:r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48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257EB-F29C-485D-BBD8-661F2B0A44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21" y="310343"/>
            <a:ext cx="7985759" cy="86882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4000" dirty="0"/>
              <a:t>Explore My Earth</a:t>
            </a:r>
          </a:p>
        </p:txBody>
      </p:sp>
      <p:pic>
        <p:nvPicPr>
          <p:cNvPr id="1026" name="Picture 2" descr="Awesome space background | Space background iphone, Space backgrounds, Space  gallery">
            <a:extLst>
              <a:ext uri="{FF2B5EF4-FFF2-40B4-BE49-F238E27FC236}">
                <a16:creationId xmlns:a16="http://schemas.microsoft.com/office/drawing/2014/main" id="{D3C59F6F-BCE8-411F-BB1B-817BEEC5C8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67000" y="-2667000"/>
            <a:ext cx="6857999" cy="121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C72E05CA-1871-4810-B21E-614B30F857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093" y="2139484"/>
            <a:ext cx="2683214" cy="4096512"/>
          </a:xfrm>
          <a:prstGeom prst="rect">
            <a:avLst/>
          </a:prstGeom>
        </p:spPr>
      </p:pic>
      <p:pic>
        <p:nvPicPr>
          <p:cNvPr id="6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D5BF3D80-2BB5-4DEE-8E84-B8BDAB06EB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393" y="2139484"/>
            <a:ext cx="2683214" cy="4096512"/>
          </a:xfrm>
          <a:prstGeom prst="rect">
            <a:avLst/>
          </a:prstGeom>
        </p:spPr>
      </p:pic>
      <p:pic>
        <p:nvPicPr>
          <p:cNvPr id="7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65BE9542-9E56-4BF8-8FB6-4C7F224B88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645" y="2139484"/>
            <a:ext cx="2683214" cy="4096512"/>
          </a:xfrm>
          <a:prstGeom prst="rect">
            <a:avLst/>
          </a:prstGeom>
        </p:spPr>
      </p:pic>
      <p:pic>
        <p:nvPicPr>
          <p:cNvPr id="9" name="Picture 8" descr="A picture containing star&#10;&#10;Description automatically generated">
            <a:extLst>
              <a:ext uri="{FF2B5EF4-FFF2-40B4-BE49-F238E27FC236}">
                <a16:creationId xmlns:a16="http://schemas.microsoft.com/office/drawing/2014/main" id="{9277AAB1-4952-4342-A43E-6FB580BCE2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256" y="2674180"/>
            <a:ext cx="1714887" cy="3027120"/>
          </a:xfrm>
          <a:prstGeom prst="rect">
            <a:avLst/>
          </a:prstGeom>
        </p:spPr>
      </p:pic>
      <p:pic>
        <p:nvPicPr>
          <p:cNvPr id="11" name="Picture 1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347BB40-78FD-422D-B39A-13FE25413C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2766" y="2674180"/>
            <a:ext cx="1686673" cy="3027120"/>
          </a:xfrm>
          <a:prstGeom prst="rect">
            <a:avLst/>
          </a:prstGeom>
        </p:spPr>
      </p:pic>
      <p:pic>
        <p:nvPicPr>
          <p:cNvPr id="21" name="Content Placeholder 4" descr="A picture containing monitor, photo, sitting, screen&#10;&#10;Description automatically generated">
            <a:extLst>
              <a:ext uri="{FF2B5EF4-FFF2-40B4-BE49-F238E27FC236}">
                <a16:creationId xmlns:a16="http://schemas.microsoft.com/office/drawing/2014/main" id="{36ECB257-1F39-42BF-8325-F9F0AE3965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2048" y="2674180"/>
            <a:ext cx="1695696" cy="3041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51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Awesome space background | Space background iphone, Space backgrounds, Space  gallery">
            <a:extLst>
              <a:ext uri="{FF2B5EF4-FFF2-40B4-BE49-F238E27FC236}">
                <a16:creationId xmlns:a16="http://schemas.microsoft.com/office/drawing/2014/main" id="{10C06A4E-C0E1-4FDC-BCBB-D2DD6115F0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67ACB7-FD4B-410F-979A-BB86017A3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  </a:t>
            </a:r>
            <a:endParaRPr lang="fr-FR" dirty="0"/>
          </a:p>
        </p:txBody>
      </p:sp>
      <p:pic>
        <p:nvPicPr>
          <p:cNvPr id="7" name="Picture 6" descr="A picture containing computer, indoor, desk, computer&#10;&#10;Description automatically generated">
            <a:extLst>
              <a:ext uri="{FF2B5EF4-FFF2-40B4-BE49-F238E27FC236}">
                <a16:creationId xmlns:a16="http://schemas.microsoft.com/office/drawing/2014/main" id="{66221AA4-443D-4F4F-92FF-A8E2E7966E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1459" y="2702560"/>
            <a:ext cx="1757681" cy="3012935"/>
          </a:xfrm>
          <a:prstGeom prst="rect">
            <a:avLst/>
          </a:prstGeom>
        </p:spPr>
      </p:pic>
      <p:pic>
        <p:nvPicPr>
          <p:cNvPr id="26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B544C5AD-928F-4747-BA04-C3ACA9196E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093" y="2139484"/>
            <a:ext cx="2683214" cy="4096512"/>
          </a:xfrm>
          <a:prstGeom prst="rect">
            <a:avLst/>
          </a:prstGeom>
        </p:spPr>
      </p:pic>
      <p:pic>
        <p:nvPicPr>
          <p:cNvPr id="27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94901FA4-F242-4F24-A76C-F5BDEC973B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393" y="2139484"/>
            <a:ext cx="2683214" cy="4096512"/>
          </a:xfrm>
          <a:prstGeom prst="rect">
            <a:avLst/>
          </a:prstGeom>
        </p:spPr>
      </p:pic>
      <p:pic>
        <p:nvPicPr>
          <p:cNvPr id="28" name="Content Placeholder 4" descr="A screen shot of a computer&#10;&#10;Description automatically generated">
            <a:extLst>
              <a:ext uri="{FF2B5EF4-FFF2-40B4-BE49-F238E27FC236}">
                <a16:creationId xmlns:a16="http://schemas.microsoft.com/office/drawing/2014/main" id="{8FE41010-677A-461F-9C07-88910DD62A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8693" y="2139484"/>
            <a:ext cx="2683214" cy="4096512"/>
          </a:xfrm>
          <a:prstGeom prst="rect">
            <a:avLst/>
          </a:prstGeom>
        </p:spPr>
      </p:pic>
      <p:pic>
        <p:nvPicPr>
          <p:cNvPr id="29" name="Picture 28" descr="A picture containing outdoor, photo, mountain, person&#10;&#10;Description automatically generated">
            <a:extLst>
              <a:ext uri="{FF2B5EF4-FFF2-40B4-BE49-F238E27FC236}">
                <a16:creationId xmlns:a16="http://schemas.microsoft.com/office/drawing/2014/main" id="{B2E1883F-2778-4F53-95FC-EBA2878FEC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1281" y="2702560"/>
            <a:ext cx="1656080" cy="2956560"/>
          </a:xfrm>
          <a:prstGeom prst="rect">
            <a:avLst/>
          </a:prstGeom>
        </p:spPr>
      </p:pic>
      <p:pic>
        <p:nvPicPr>
          <p:cNvPr id="30" name="Picture 2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4490E0C-A3E1-4F7C-9E7B-D639C6D664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720" y="2702560"/>
            <a:ext cx="1686446" cy="301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17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hevrons_with_icons_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video games*console*controller*play*funny*entertainment*leisure*culture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heme/theme1.xml><?xml version="1.0" encoding="utf-8"?>
<a:theme xmlns:a="http://schemas.openxmlformats.org/drawingml/2006/main" name="Office Theme">
  <a:themeElements>
    <a:clrScheme name="Violet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8</TotalTime>
  <Words>278</Words>
  <Application>Microsoft Office PowerPoint</Application>
  <PresentationFormat>Widescreen</PresentationFormat>
  <Paragraphs>43</Paragraphs>
  <Slides>1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gency FB</vt:lpstr>
      <vt:lpstr>Arial</vt:lpstr>
      <vt:lpstr>Bahnschrift Condensed</vt:lpstr>
      <vt:lpstr>Bahnschrift Light Condensed</vt:lpstr>
      <vt:lpstr>Bahnschrift SemiBold Condensed</vt:lpstr>
      <vt:lpstr>Calibri</vt:lpstr>
      <vt:lpstr>Calibri Light</vt:lpstr>
      <vt:lpstr>Poppins SemiBold</vt:lpstr>
      <vt:lpstr>Office Theme</vt:lpstr>
      <vt:lpstr>My Earth</vt:lpstr>
      <vt:lpstr>OUR APP: My Earth</vt:lpstr>
      <vt:lpstr>Facts:</vt:lpstr>
      <vt:lpstr>PowerPoint Presentation</vt:lpstr>
      <vt:lpstr> </vt:lpstr>
      <vt:lpstr>Facts:</vt:lpstr>
      <vt:lpstr>PowerPoint Presentation</vt:lpstr>
      <vt:lpstr>Explore My Earth</vt:lpstr>
      <vt:lpstr>  </vt:lpstr>
      <vt:lpstr>PowerPoint Presentation</vt:lpstr>
      <vt:lpstr>PowerPoint Presentation</vt:lpstr>
      <vt:lpstr>PowerPoint Presentation</vt:lpstr>
      <vt:lpstr>PowerPoint Presentation</vt:lpstr>
      <vt:lpstr>FUTURE UPDATES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najoua BOUTAHAR</dc:creator>
  <cp:lastModifiedBy>najoua BOUTAHAR</cp:lastModifiedBy>
  <cp:revision>18</cp:revision>
  <dcterms:created xsi:type="dcterms:W3CDTF">2020-10-02T19:25:08Z</dcterms:created>
  <dcterms:modified xsi:type="dcterms:W3CDTF">2020-10-04T01:23:16Z</dcterms:modified>
</cp:coreProperties>
</file>